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6.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712" r:id="rId3"/>
    <p:sldMasterId id="2147483738" r:id="rId4"/>
    <p:sldMasterId id="2147483764" r:id="rId5"/>
  </p:sldMasterIdLst>
  <p:notesMasterIdLst>
    <p:notesMasterId r:id="rId12"/>
  </p:notesMasterIdLst>
  <p:sldIdLst>
    <p:sldId id="2145706509" r:id="rId6"/>
    <p:sldId id="2145706507" r:id="rId7"/>
    <p:sldId id="2145706511" r:id="rId8"/>
    <p:sldId id="2145706514" r:id="rId9"/>
    <p:sldId id="2145706510" r:id="rId10"/>
    <p:sldId id="2145706512"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936"/>
    <a:srgbClr val="12ABDB"/>
    <a:srgbClr val="0070AD"/>
    <a:srgbClr val="16ABDC"/>
    <a:srgbClr val="97BF0D"/>
    <a:srgbClr val="003857"/>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703" autoAdjust="0"/>
    <p:restoredTop sz="94660"/>
  </p:normalViewPr>
  <p:slideViewPr>
    <p:cSldViewPr snapToGrid="0">
      <p:cViewPr varScale="1">
        <p:scale>
          <a:sx n="115" d="100"/>
          <a:sy n="115" d="100"/>
        </p:scale>
        <p:origin x="1020"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B72A2A-F971-4E10-AFB9-4AE94C5F086F}" type="doc">
      <dgm:prSet loTypeId="urn:microsoft.com/office/officeart/2005/8/layout/arrow5" loCatId="process" qsTypeId="urn:microsoft.com/office/officeart/2005/8/quickstyle/simple1" qsCatId="simple" csTypeId="urn:microsoft.com/office/officeart/2005/8/colors/accent1_2" csCatId="accent1" phldr="1"/>
      <dgm:spPr/>
      <dgm:t>
        <a:bodyPr/>
        <a:lstStyle/>
        <a:p>
          <a:endParaRPr lang="en-US"/>
        </a:p>
      </dgm:t>
    </dgm:pt>
    <dgm:pt modelId="{6E6D9B6F-69F2-4FFD-A05A-80AB00161025}">
      <dgm:prSet phldrT="[Text]" custT="1"/>
      <dgm:spPr>
        <a:solidFill>
          <a:srgbClr val="12ABDB"/>
        </a:solidFill>
        <a:ln w="57150">
          <a:solidFill>
            <a:schemeClr val="bg1"/>
          </a:solidFill>
        </a:ln>
      </dgm:spPr>
      <dgm:t>
        <a:bodyPr/>
        <a:lstStyle/>
        <a:p>
          <a:r>
            <a:rPr lang="en-US" sz="1050" b="0" cap="none" baseline="0" dirty="0">
              <a:latin typeface="+mn-lt"/>
            </a:rPr>
            <a:t>138 Teams </a:t>
          </a:r>
        </a:p>
      </dgm:t>
    </dgm:pt>
    <dgm:pt modelId="{512B3894-9DF5-4862-9D6C-11447CD44063}" type="parTrans" cxnId="{8B10EC81-C2E5-42EE-A9CF-0732D109282C}">
      <dgm:prSet/>
      <dgm:spPr/>
      <dgm:t>
        <a:bodyPr/>
        <a:lstStyle/>
        <a:p>
          <a:endParaRPr lang="en-US" sz="1400" cap="none" baseline="0">
            <a:latin typeface="+mn-lt"/>
          </a:endParaRPr>
        </a:p>
      </dgm:t>
    </dgm:pt>
    <dgm:pt modelId="{5F4E9F59-B04A-4FBC-86C2-9F2086249643}" type="sibTrans" cxnId="{8B10EC81-C2E5-42EE-A9CF-0732D109282C}">
      <dgm:prSet/>
      <dgm:spPr/>
      <dgm:t>
        <a:bodyPr/>
        <a:lstStyle/>
        <a:p>
          <a:endParaRPr lang="en-US" sz="1400" cap="none" baseline="0">
            <a:latin typeface="+mn-lt"/>
          </a:endParaRPr>
        </a:p>
      </dgm:t>
    </dgm:pt>
    <dgm:pt modelId="{14958E69-9952-4201-AE01-760D61285097}">
      <dgm:prSet phldrT="[Text]" custT="1"/>
      <dgm:spPr>
        <a:solidFill>
          <a:srgbClr val="12ABDB"/>
        </a:solidFill>
        <a:ln w="57150">
          <a:solidFill>
            <a:schemeClr val="bg1"/>
          </a:solidFill>
        </a:ln>
      </dgm:spPr>
      <dgm:t>
        <a:bodyPr/>
        <a:lstStyle/>
        <a:p>
          <a:r>
            <a:rPr lang="en-US" sz="1200" b="0" cap="none" baseline="0" dirty="0">
              <a:latin typeface="+mn-lt"/>
            </a:rPr>
            <a:t>40+ </a:t>
          </a:r>
          <a:r>
            <a:rPr lang="en-US" sz="1050" b="0" cap="none" baseline="0" dirty="0">
              <a:latin typeface="+mn-lt"/>
            </a:rPr>
            <a:t>POCs</a:t>
          </a:r>
          <a:r>
            <a:rPr lang="en-US" sz="1200" b="0" cap="none" baseline="0" dirty="0">
              <a:latin typeface="+mn-lt"/>
            </a:rPr>
            <a:t> </a:t>
          </a:r>
        </a:p>
      </dgm:t>
    </dgm:pt>
    <dgm:pt modelId="{0249286A-3229-40CE-8589-7C978127124E}" type="parTrans" cxnId="{04DE7F28-0E5B-462E-8F99-542672FA0A76}">
      <dgm:prSet/>
      <dgm:spPr/>
      <dgm:t>
        <a:bodyPr/>
        <a:lstStyle/>
        <a:p>
          <a:endParaRPr lang="en-US" sz="1400" cap="none" baseline="0">
            <a:latin typeface="+mn-lt"/>
          </a:endParaRPr>
        </a:p>
      </dgm:t>
    </dgm:pt>
    <dgm:pt modelId="{DF0958DD-8FC2-47B4-8825-0FE42419C87F}" type="sibTrans" cxnId="{04DE7F28-0E5B-462E-8F99-542672FA0A76}">
      <dgm:prSet/>
      <dgm:spPr/>
      <dgm:t>
        <a:bodyPr/>
        <a:lstStyle/>
        <a:p>
          <a:endParaRPr lang="en-US" sz="1400" cap="none" baseline="0">
            <a:latin typeface="+mn-lt"/>
          </a:endParaRPr>
        </a:p>
      </dgm:t>
    </dgm:pt>
    <dgm:pt modelId="{474FD055-A333-4E5C-BEF7-619BB6525D76}">
      <dgm:prSet phldrT="[Text]" custT="1"/>
      <dgm:spPr>
        <a:solidFill>
          <a:srgbClr val="12ABDB"/>
        </a:solidFill>
        <a:ln w="57150">
          <a:solidFill>
            <a:schemeClr val="bg1"/>
          </a:solidFill>
        </a:ln>
      </dgm:spPr>
      <dgm:t>
        <a:bodyPr/>
        <a:lstStyle/>
        <a:p>
          <a:r>
            <a:rPr lang="en-US" sz="1050" b="0" cap="none" baseline="0" dirty="0">
              <a:latin typeface="+mn-lt"/>
            </a:rPr>
            <a:t>10 Finalists</a:t>
          </a:r>
        </a:p>
      </dgm:t>
    </dgm:pt>
    <dgm:pt modelId="{1023E788-4C01-49FA-8838-DD77703F305A}" type="parTrans" cxnId="{73C95B95-02CE-49C8-A103-C19145861DFB}">
      <dgm:prSet/>
      <dgm:spPr/>
      <dgm:t>
        <a:bodyPr/>
        <a:lstStyle/>
        <a:p>
          <a:endParaRPr lang="en-US" sz="1400" cap="none" baseline="0">
            <a:latin typeface="+mn-lt"/>
          </a:endParaRPr>
        </a:p>
      </dgm:t>
    </dgm:pt>
    <dgm:pt modelId="{9F74049D-AD8D-436B-809D-7FF6B55E0171}" type="sibTrans" cxnId="{73C95B95-02CE-49C8-A103-C19145861DFB}">
      <dgm:prSet/>
      <dgm:spPr/>
      <dgm:t>
        <a:bodyPr/>
        <a:lstStyle/>
        <a:p>
          <a:endParaRPr lang="en-US" sz="1400" cap="none" baseline="0">
            <a:latin typeface="+mn-lt"/>
          </a:endParaRPr>
        </a:p>
      </dgm:t>
    </dgm:pt>
    <dgm:pt modelId="{29F87FB2-4815-4B16-B12F-D560780AD288}">
      <dgm:prSet phldrT="[Text]" custT="1"/>
      <dgm:spPr>
        <a:solidFill>
          <a:srgbClr val="12ABDB"/>
        </a:solidFill>
        <a:ln w="57150">
          <a:solidFill>
            <a:schemeClr val="bg1"/>
          </a:solidFill>
        </a:ln>
      </dgm:spPr>
      <dgm:t>
        <a:bodyPr/>
        <a:lstStyle/>
        <a:p>
          <a:r>
            <a:rPr lang="en-US" sz="1050" b="0" cap="none" baseline="0" dirty="0">
              <a:latin typeface="+mn-lt"/>
            </a:rPr>
            <a:t>Cash Prizes</a:t>
          </a:r>
        </a:p>
      </dgm:t>
    </dgm:pt>
    <dgm:pt modelId="{639865B4-700A-453C-AB49-6422480047B8}" type="parTrans" cxnId="{B49767A1-02DC-4EAA-A67C-E55F1A31F788}">
      <dgm:prSet/>
      <dgm:spPr/>
      <dgm:t>
        <a:bodyPr/>
        <a:lstStyle/>
        <a:p>
          <a:endParaRPr lang="en-US" sz="1400" cap="none" baseline="0">
            <a:latin typeface="+mn-lt"/>
          </a:endParaRPr>
        </a:p>
      </dgm:t>
    </dgm:pt>
    <dgm:pt modelId="{47FB1376-E12B-43C6-97F2-67F04657E175}" type="sibTrans" cxnId="{B49767A1-02DC-4EAA-A67C-E55F1A31F788}">
      <dgm:prSet/>
      <dgm:spPr/>
      <dgm:t>
        <a:bodyPr/>
        <a:lstStyle/>
        <a:p>
          <a:endParaRPr lang="en-US" sz="1400" cap="none" baseline="0">
            <a:latin typeface="+mn-lt"/>
          </a:endParaRPr>
        </a:p>
      </dgm:t>
    </dgm:pt>
    <dgm:pt modelId="{4663F391-1E7B-4772-99EA-EF3DD8DD51B3}">
      <dgm:prSet phldrT="[Text]" custT="1"/>
      <dgm:spPr>
        <a:solidFill>
          <a:srgbClr val="12ABDB"/>
        </a:solidFill>
        <a:ln w="57150">
          <a:solidFill>
            <a:schemeClr val="bg1"/>
          </a:solidFill>
        </a:ln>
      </dgm:spPr>
      <dgm:t>
        <a:bodyPr/>
        <a:lstStyle/>
        <a:p>
          <a:r>
            <a:rPr lang="en-US" sz="1050" b="0" cap="none" baseline="0" dirty="0">
              <a:latin typeface="+mn-lt"/>
            </a:rPr>
            <a:t>310+ Participants</a:t>
          </a:r>
        </a:p>
      </dgm:t>
    </dgm:pt>
    <dgm:pt modelId="{2FFF5384-5498-43D6-BB34-FC6459F5BB04}" type="parTrans" cxnId="{C6155564-CBAB-4C73-8ECE-B50F4FFFDC2B}">
      <dgm:prSet/>
      <dgm:spPr/>
      <dgm:t>
        <a:bodyPr/>
        <a:lstStyle/>
        <a:p>
          <a:endParaRPr lang="en-US"/>
        </a:p>
      </dgm:t>
    </dgm:pt>
    <dgm:pt modelId="{D5D5E242-36C9-4E03-8462-DC757AA60FDA}" type="sibTrans" cxnId="{C6155564-CBAB-4C73-8ECE-B50F4FFFDC2B}">
      <dgm:prSet/>
      <dgm:spPr/>
      <dgm:t>
        <a:bodyPr/>
        <a:lstStyle/>
        <a:p>
          <a:endParaRPr lang="en-US"/>
        </a:p>
      </dgm:t>
    </dgm:pt>
    <dgm:pt modelId="{DA622D72-C72B-4E1D-9E8C-FBACE2AAA010}" type="pres">
      <dgm:prSet presAssocID="{26B72A2A-F971-4E10-AFB9-4AE94C5F086F}" presName="diagram" presStyleCnt="0">
        <dgm:presLayoutVars>
          <dgm:dir/>
          <dgm:resizeHandles val="exact"/>
        </dgm:presLayoutVars>
      </dgm:prSet>
      <dgm:spPr/>
    </dgm:pt>
    <dgm:pt modelId="{718F8044-FEF9-4FFF-AAB8-63BC409D165B}" type="pres">
      <dgm:prSet presAssocID="{6E6D9B6F-69F2-4FFD-A05A-80AB00161025}" presName="arrow" presStyleLbl="node1" presStyleIdx="0" presStyleCnt="5" custScaleX="81232" custScaleY="81232" custRadScaleRad="86549" custRadScaleInc="-1526">
        <dgm:presLayoutVars>
          <dgm:bulletEnabled val="1"/>
        </dgm:presLayoutVars>
      </dgm:prSet>
      <dgm:spPr/>
    </dgm:pt>
    <dgm:pt modelId="{67CF0738-B98E-4893-A6CF-078470A4706A}" type="pres">
      <dgm:prSet presAssocID="{14958E69-9952-4201-AE01-760D61285097}" presName="arrow" presStyleLbl="node1" presStyleIdx="1" presStyleCnt="5" custScaleX="81232" custScaleY="81232" custRadScaleRad="84523" custRadScaleInc="2735">
        <dgm:presLayoutVars>
          <dgm:bulletEnabled val="1"/>
        </dgm:presLayoutVars>
      </dgm:prSet>
      <dgm:spPr/>
    </dgm:pt>
    <dgm:pt modelId="{967F392D-B3B7-45A6-AACC-E4BC78E208C6}" type="pres">
      <dgm:prSet presAssocID="{29F87FB2-4815-4B16-B12F-D560780AD288}" presName="arrow" presStyleLbl="node1" presStyleIdx="2" presStyleCnt="5" custScaleX="81232" custScaleY="81232" custRadScaleRad="87426" custRadScaleInc="5701">
        <dgm:presLayoutVars>
          <dgm:bulletEnabled val="1"/>
        </dgm:presLayoutVars>
      </dgm:prSet>
      <dgm:spPr/>
    </dgm:pt>
    <dgm:pt modelId="{6C0D3B53-3EF9-4FDB-A9B4-E789ACD7E973}" type="pres">
      <dgm:prSet presAssocID="{474FD055-A333-4E5C-BEF7-619BB6525D76}" presName="arrow" presStyleLbl="node1" presStyleIdx="3" presStyleCnt="5" custScaleX="81232" custScaleY="81232" custRadScaleRad="93462" custRadScaleInc="1975">
        <dgm:presLayoutVars>
          <dgm:bulletEnabled val="1"/>
        </dgm:presLayoutVars>
      </dgm:prSet>
      <dgm:spPr/>
    </dgm:pt>
    <dgm:pt modelId="{7CAF517F-1806-4C47-B752-F4CE357F4C8E}" type="pres">
      <dgm:prSet presAssocID="{4663F391-1E7B-4772-99EA-EF3DD8DD51B3}" presName="arrow" presStyleLbl="node1" presStyleIdx="4" presStyleCnt="5" custScaleX="81232" custScaleY="81232" custRadScaleRad="88093" custRadScaleInc="692">
        <dgm:presLayoutVars>
          <dgm:bulletEnabled val="1"/>
        </dgm:presLayoutVars>
      </dgm:prSet>
      <dgm:spPr/>
    </dgm:pt>
  </dgm:ptLst>
  <dgm:cxnLst>
    <dgm:cxn modelId="{22E09009-4135-4990-B5EF-91AC7351493C}" type="presOf" srcId="{14958E69-9952-4201-AE01-760D61285097}" destId="{67CF0738-B98E-4893-A6CF-078470A4706A}" srcOrd="0" destOrd="0" presId="urn:microsoft.com/office/officeart/2005/8/layout/arrow5"/>
    <dgm:cxn modelId="{3CCAE809-28C1-4283-B941-944580419D17}" type="presOf" srcId="{26B72A2A-F971-4E10-AFB9-4AE94C5F086F}" destId="{DA622D72-C72B-4E1D-9E8C-FBACE2AAA010}" srcOrd="0" destOrd="0" presId="urn:microsoft.com/office/officeart/2005/8/layout/arrow5"/>
    <dgm:cxn modelId="{74440021-3221-4C0E-9D98-34887D2ACE13}" type="presOf" srcId="{474FD055-A333-4E5C-BEF7-619BB6525D76}" destId="{6C0D3B53-3EF9-4FDB-A9B4-E789ACD7E973}" srcOrd="0" destOrd="0" presId="urn:microsoft.com/office/officeart/2005/8/layout/arrow5"/>
    <dgm:cxn modelId="{04DE7F28-0E5B-462E-8F99-542672FA0A76}" srcId="{26B72A2A-F971-4E10-AFB9-4AE94C5F086F}" destId="{14958E69-9952-4201-AE01-760D61285097}" srcOrd="1" destOrd="0" parTransId="{0249286A-3229-40CE-8589-7C978127124E}" sibTransId="{DF0958DD-8FC2-47B4-8825-0FE42419C87F}"/>
    <dgm:cxn modelId="{C6155564-CBAB-4C73-8ECE-B50F4FFFDC2B}" srcId="{26B72A2A-F971-4E10-AFB9-4AE94C5F086F}" destId="{4663F391-1E7B-4772-99EA-EF3DD8DD51B3}" srcOrd="4" destOrd="0" parTransId="{2FFF5384-5498-43D6-BB34-FC6459F5BB04}" sibTransId="{D5D5E242-36C9-4E03-8462-DC757AA60FDA}"/>
    <dgm:cxn modelId="{8B10EC81-C2E5-42EE-A9CF-0732D109282C}" srcId="{26B72A2A-F971-4E10-AFB9-4AE94C5F086F}" destId="{6E6D9B6F-69F2-4FFD-A05A-80AB00161025}" srcOrd="0" destOrd="0" parTransId="{512B3894-9DF5-4862-9D6C-11447CD44063}" sibTransId="{5F4E9F59-B04A-4FBC-86C2-9F2086249643}"/>
    <dgm:cxn modelId="{73C95B95-02CE-49C8-A103-C19145861DFB}" srcId="{26B72A2A-F971-4E10-AFB9-4AE94C5F086F}" destId="{474FD055-A333-4E5C-BEF7-619BB6525D76}" srcOrd="3" destOrd="0" parTransId="{1023E788-4C01-49FA-8838-DD77703F305A}" sibTransId="{9F74049D-AD8D-436B-809D-7FF6B55E0171}"/>
    <dgm:cxn modelId="{B49767A1-02DC-4EAA-A67C-E55F1A31F788}" srcId="{26B72A2A-F971-4E10-AFB9-4AE94C5F086F}" destId="{29F87FB2-4815-4B16-B12F-D560780AD288}" srcOrd="2" destOrd="0" parTransId="{639865B4-700A-453C-AB49-6422480047B8}" sibTransId="{47FB1376-E12B-43C6-97F2-67F04657E175}"/>
    <dgm:cxn modelId="{040867C8-6069-410F-8272-9FB8498FDFBB}" type="presOf" srcId="{29F87FB2-4815-4B16-B12F-D560780AD288}" destId="{967F392D-B3B7-45A6-AACC-E4BC78E208C6}" srcOrd="0" destOrd="0" presId="urn:microsoft.com/office/officeart/2005/8/layout/arrow5"/>
    <dgm:cxn modelId="{B8A86DCD-AC6A-4F29-AA0E-DF120E17091F}" type="presOf" srcId="{6E6D9B6F-69F2-4FFD-A05A-80AB00161025}" destId="{718F8044-FEF9-4FFF-AAB8-63BC409D165B}" srcOrd="0" destOrd="0" presId="urn:microsoft.com/office/officeart/2005/8/layout/arrow5"/>
    <dgm:cxn modelId="{48E431CE-E366-459D-BE09-ECFCEB81043B}" type="presOf" srcId="{4663F391-1E7B-4772-99EA-EF3DD8DD51B3}" destId="{7CAF517F-1806-4C47-B752-F4CE357F4C8E}" srcOrd="0" destOrd="0" presId="urn:microsoft.com/office/officeart/2005/8/layout/arrow5"/>
    <dgm:cxn modelId="{9B167B81-456C-4581-9D4E-FB5DC0D6B867}" type="presParOf" srcId="{DA622D72-C72B-4E1D-9E8C-FBACE2AAA010}" destId="{718F8044-FEF9-4FFF-AAB8-63BC409D165B}" srcOrd="0" destOrd="0" presId="urn:microsoft.com/office/officeart/2005/8/layout/arrow5"/>
    <dgm:cxn modelId="{20E3E6B8-7D8A-465B-9D63-14DDECFF0EAD}" type="presParOf" srcId="{DA622D72-C72B-4E1D-9E8C-FBACE2AAA010}" destId="{67CF0738-B98E-4893-A6CF-078470A4706A}" srcOrd="1" destOrd="0" presId="urn:microsoft.com/office/officeart/2005/8/layout/arrow5"/>
    <dgm:cxn modelId="{271A5303-D270-4E52-8B24-D2E5F9C04D61}" type="presParOf" srcId="{DA622D72-C72B-4E1D-9E8C-FBACE2AAA010}" destId="{967F392D-B3B7-45A6-AACC-E4BC78E208C6}" srcOrd="2" destOrd="0" presId="urn:microsoft.com/office/officeart/2005/8/layout/arrow5"/>
    <dgm:cxn modelId="{27D17470-F2E4-4393-90C6-2C88096CE968}" type="presParOf" srcId="{DA622D72-C72B-4E1D-9E8C-FBACE2AAA010}" destId="{6C0D3B53-3EF9-4FDB-A9B4-E789ACD7E973}" srcOrd="3" destOrd="0" presId="urn:microsoft.com/office/officeart/2005/8/layout/arrow5"/>
    <dgm:cxn modelId="{8C2FAE38-21E7-4594-8F47-CF93A9EDF722}" type="presParOf" srcId="{DA622D72-C72B-4E1D-9E8C-FBACE2AAA010}" destId="{7CAF517F-1806-4C47-B752-F4CE357F4C8E}" srcOrd="4" destOrd="0" presId="urn:microsoft.com/office/officeart/2005/8/layout/arrow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8F8044-FEF9-4FFF-AAB8-63BC409D165B}">
      <dsp:nvSpPr>
        <dsp:cNvPr id="0" name=""/>
        <dsp:cNvSpPr/>
      </dsp:nvSpPr>
      <dsp:spPr>
        <a:xfrm>
          <a:off x="4720909" y="350149"/>
          <a:ext cx="1332904" cy="1332904"/>
        </a:xfrm>
        <a:prstGeom prst="downArrow">
          <a:avLst>
            <a:gd name="adj1" fmla="val 50000"/>
            <a:gd name="adj2" fmla="val 35000"/>
          </a:avLst>
        </a:prstGeom>
        <a:solidFill>
          <a:srgbClr val="12ABDB"/>
        </a:solidFill>
        <a:ln w="571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66725">
            <a:lnSpc>
              <a:spcPct val="90000"/>
            </a:lnSpc>
            <a:spcBef>
              <a:spcPct val="0"/>
            </a:spcBef>
            <a:spcAft>
              <a:spcPct val="35000"/>
            </a:spcAft>
            <a:buNone/>
          </a:pPr>
          <a:r>
            <a:rPr lang="en-US" sz="1050" b="0" kern="1200" cap="none" baseline="0" dirty="0">
              <a:latin typeface="+mn-lt"/>
            </a:rPr>
            <a:t>138 Teams </a:t>
          </a:r>
        </a:p>
      </dsp:txBody>
      <dsp:txXfrm>
        <a:off x="5054135" y="350149"/>
        <a:ext cx="666452" cy="1099646"/>
      </dsp:txXfrm>
    </dsp:sp>
    <dsp:sp modelId="{67CF0738-B98E-4893-A6CF-078470A4706A}">
      <dsp:nvSpPr>
        <dsp:cNvPr id="0" name=""/>
        <dsp:cNvSpPr/>
      </dsp:nvSpPr>
      <dsp:spPr>
        <a:xfrm rot="4320000">
          <a:off x="5921924" y="1265687"/>
          <a:ext cx="1332904" cy="1332904"/>
        </a:xfrm>
        <a:prstGeom prst="downArrow">
          <a:avLst>
            <a:gd name="adj1" fmla="val 50000"/>
            <a:gd name="adj2" fmla="val 35000"/>
          </a:avLst>
        </a:prstGeom>
        <a:solidFill>
          <a:srgbClr val="12ABDB"/>
        </a:solidFill>
        <a:ln w="571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0" kern="1200" cap="none" baseline="0" dirty="0">
              <a:latin typeface="+mn-lt"/>
            </a:rPr>
            <a:t>40+ </a:t>
          </a:r>
          <a:r>
            <a:rPr lang="en-US" sz="1050" b="0" kern="1200" cap="none" baseline="0" dirty="0">
              <a:latin typeface="+mn-lt"/>
            </a:rPr>
            <a:t>POCs</a:t>
          </a:r>
          <a:r>
            <a:rPr lang="en-US" sz="1200" b="0" kern="1200" cap="none" baseline="0" dirty="0">
              <a:latin typeface="+mn-lt"/>
            </a:rPr>
            <a:t> </a:t>
          </a:r>
        </a:p>
      </dsp:txBody>
      <dsp:txXfrm rot="-5400000">
        <a:off x="6149474" y="1562873"/>
        <a:ext cx="1099646" cy="666452"/>
      </dsp:txXfrm>
    </dsp:sp>
    <dsp:sp modelId="{967F392D-B3B7-45A6-AACC-E4BC78E208C6}">
      <dsp:nvSpPr>
        <dsp:cNvPr id="0" name=""/>
        <dsp:cNvSpPr/>
      </dsp:nvSpPr>
      <dsp:spPr>
        <a:xfrm rot="8640000">
          <a:off x="5414211" y="2679267"/>
          <a:ext cx="1332904" cy="1332904"/>
        </a:xfrm>
        <a:prstGeom prst="downArrow">
          <a:avLst>
            <a:gd name="adj1" fmla="val 50000"/>
            <a:gd name="adj2" fmla="val 35000"/>
          </a:avLst>
        </a:prstGeom>
        <a:solidFill>
          <a:srgbClr val="12ABDB"/>
        </a:solidFill>
        <a:ln w="571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66725">
            <a:lnSpc>
              <a:spcPct val="90000"/>
            </a:lnSpc>
            <a:spcBef>
              <a:spcPct val="0"/>
            </a:spcBef>
            <a:spcAft>
              <a:spcPct val="35000"/>
            </a:spcAft>
            <a:buNone/>
          </a:pPr>
          <a:r>
            <a:rPr lang="en-US" sz="1050" b="0" kern="1200" cap="none" baseline="0" dirty="0">
              <a:latin typeface="+mn-lt"/>
            </a:rPr>
            <a:t>Cash Prizes</a:t>
          </a:r>
        </a:p>
      </dsp:txBody>
      <dsp:txXfrm rot="10800000">
        <a:off x="5815990" y="2890251"/>
        <a:ext cx="666452" cy="1099646"/>
      </dsp:txXfrm>
    </dsp:sp>
    <dsp:sp modelId="{6C0D3B53-3EF9-4FDB-A9B4-E789ACD7E973}">
      <dsp:nvSpPr>
        <dsp:cNvPr id="0" name=""/>
        <dsp:cNvSpPr/>
      </dsp:nvSpPr>
      <dsp:spPr>
        <a:xfrm rot="12960000">
          <a:off x="3922092" y="2679264"/>
          <a:ext cx="1332904" cy="1332904"/>
        </a:xfrm>
        <a:prstGeom prst="downArrow">
          <a:avLst>
            <a:gd name="adj1" fmla="val 50000"/>
            <a:gd name="adj2" fmla="val 35000"/>
          </a:avLst>
        </a:prstGeom>
        <a:solidFill>
          <a:srgbClr val="12ABDB"/>
        </a:solidFill>
        <a:ln w="571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66725">
            <a:lnSpc>
              <a:spcPct val="90000"/>
            </a:lnSpc>
            <a:spcBef>
              <a:spcPct val="0"/>
            </a:spcBef>
            <a:spcAft>
              <a:spcPct val="35000"/>
            </a:spcAft>
            <a:buNone/>
          </a:pPr>
          <a:r>
            <a:rPr lang="en-US" sz="1050" b="0" kern="1200" cap="none" baseline="0" dirty="0">
              <a:latin typeface="+mn-lt"/>
            </a:rPr>
            <a:t>10 Finalists</a:t>
          </a:r>
        </a:p>
      </dsp:txBody>
      <dsp:txXfrm rot="10800000">
        <a:off x="4186765" y="2890248"/>
        <a:ext cx="666452" cy="1099646"/>
      </dsp:txXfrm>
    </dsp:sp>
    <dsp:sp modelId="{7CAF517F-1806-4C47-B752-F4CE357F4C8E}">
      <dsp:nvSpPr>
        <dsp:cNvPr id="0" name=""/>
        <dsp:cNvSpPr/>
      </dsp:nvSpPr>
      <dsp:spPr>
        <a:xfrm rot="17280000">
          <a:off x="3534583" y="1198919"/>
          <a:ext cx="1332904" cy="1332904"/>
        </a:xfrm>
        <a:prstGeom prst="downArrow">
          <a:avLst>
            <a:gd name="adj1" fmla="val 50000"/>
            <a:gd name="adj2" fmla="val 35000"/>
          </a:avLst>
        </a:prstGeom>
        <a:solidFill>
          <a:srgbClr val="12ABDB"/>
        </a:solidFill>
        <a:ln w="571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66725">
            <a:lnSpc>
              <a:spcPct val="90000"/>
            </a:lnSpc>
            <a:spcBef>
              <a:spcPct val="0"/>
            </a:spcBef>
            <a:spcAft>
              <a:spcPct val="35000"/>
            </a:spcAft>
            <a:buNone/>
          </a:pPr>
          <a:r>
            <a:rPr lang="en-US" sz="1050" b="0" kern="1200" cap="none" baseline="0" dirty="0">
              <a:latin typeface="+mn-lt"/>
            </a:rPr>
            <a:t>310+ Participants</a:t>
          </a:r>
        </a:p>
      </dsp:txBody>
      <dsp:txXfrm rot="5400000">
        <a:off x="3540291" y="1496105"/>
        <a:ext cx="1099646" cy="666452"/>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572B64-2B3E-448B-8CBB-6A521E96B3CD}" type="datetimeFigureOut">
              <a:rPr lang="en-IN" smtClean="0"/>
              <a:t>26-07-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B6FED3-20F0-4F6C-BE72-0C75FD7A3372}" type="slidenum">
              <a:rPr lang="en-IN" smtClean="0"/>
              <a:t>‹#›</a:t>
            </a:fld>
            <a:endParaRPr lang="en-IN"/>
          </a:p>
        </p:txBody>
      </p:sp>
    </p:spTree>
    <p:extLst>
      <p:ext uri="{BB962C8B-B14F-4D97-AF65-F5344CB8AC3E}">
        <p14:creationId xmlns:p14="http://schemas.microsoft.com/office/powerpoint/2010/main" val="3343405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8.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5.xml"/><Relationship Id="rId6" Type="http://schemas.openxmlformats.org/officeDocument/2006/relationships/image" Target="../media/image4.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hyperlink" Target="http://www.youtube.com/capgeminimedia" TargetMode="External"/><Relationship Id="rId14" Type="http://schemas.openxmlformats.org/officeDocument/2006/relationships/image" Target="../media/image19.svg"/></Relationships>
</file>

<file path=ppt/slideLayouts/_rels/slideLayout108.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5.png"/><Relationship Id="rId18" Type="http://schemas.openxmlformats.org/officeDocument/2006/relationships/image" Target="../media/image18.png"/><Relationship Id="rId3" Type="http://schemas.openxmlformats.org/officeDocument/2006/relationships/hyperlink" Target="http://www.linkedin.com/company/capgemini" TargetMode="External"/><Relationship Id="rId7" Type="http://schemas.openxmlformats.org/officeDocument/2006/relationships/image" Target="../media/image23.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image" Target="../media/image21.png"/><Relationship Id="rId16" Type="http://schemas.openxmlformats.org/officeDocument/2006/relationships/image" Target="../media/image26.png"/><Relationship Id="rId1" Type="http://schemas.openxmlformats.org/officeDocument/2006/relationships/slideMaster" Target="../slideMasters/slideMaster5.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24.png"/><Relationship Id="rId19" Type="http://schemas.openxmlformats.org/officeDocument/2006/relationships/image" Target="../media/image19.svg"/><Relationship Id="rId4" Type="http://schemas.openxmlformats.org/officeDocument/2006/relationships/image" Target="../media/image22.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7.png"/><Relationship Id="rId1" Type="http://schemas.openxmlformats.org/officeDocument/2006/relationships/tags" Target="../tags/tag5.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15.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14.xml"/><Relationship Id="rId16" Type="http://schemas.openxmlformats.org/officeDocument/2006/relationships/image" Target="../media/image7.png"/><Relationship Id="rId1" Type="http://schemas.openxmlformats.org/officeDocument/2006/relationships/tags" Target="../tags/tag13.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22.xml"/><Relationship Id="rId16" Type="http://schemas.openxmlformats.org/officeDocument/2006/relationships/image" Target="../media/image7.png"/><Relationship Id="rId1" Type="http://schemas.openxmlformats.org/officeDocument/2006/relationships/tags" Target="../tags/tag21.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30.xml"/><Relationship Id="rId16" Type="http://schemas.openxmlformats.org/officeDocument/2006/relationships/image" Target="../media/image7.png"/><Relationship Id="rId1" Type="http://schemas.openxmlformats.org/officeDocument/2006/relationships/tags" Target="../tags/tag29.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346239239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69212022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de-DE"/>
          </a:p>
        </p:txBody>
      </p:sp>
    </p:spTree>
    <p:extLst>
      <p:ext uri="{BB962C8B-B14F-4D97-AF65-F5344CB8AC3E}">
        <p14:creationId xmlns:p14="http://schemas.microsoft.com/office/powerpoint/2010/main" val="9942181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11" name="Title Placeholder">
            <a:extLst>
              <a:ext uri="{FF2B5EF4-FFF2-40B4-BE49-F238E27FC236}">
                <a16:creationId xmlns:a16="http://schemas.microsoft.com/office/drawing/2014/main" id="{006B5C2B-B0BF-4136-9EC7-0E7F54D1D264}"/>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en-GB"/>
          </a:p>
        </p:txBody>
      </p:sp>
      <p:sp>
        <p:nvSpPr>
          <p:cNvPr id="5" name="Content Placeholder">
            <a:extLst>
              <a:ext uri="{FF2B5EF4-FFF2-40B4-BE49-F238E27FC236}">
                <a16:creationId xmlns:a16="http://schemas.microsoft.com/office/drawing/2014/main" id="{BCFEC8C0-8322-4141-827E-9859F309C31A}"/>
              </a:ext>
            </a:extLst>
          </p:cNvPr>
          <p:cNvSpPr>
            <a:spLocks noGrp="1"/>
          </p:cNvSpPr>
          <p:nvPr>
            <p:ph idx="1"/>
          </p:nvPr>
        </p:nvSpPr>
        <p:spPr>
          <a:xfrm>
            <a:off x="404813" y="1329743"/>
            <a:ext cx="11379600" cy="51345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650364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Content Placeholder"/>
          <p:cNvSpPr>
            <a:spLocks noGrp="1"/>
          </p:cNvSpPr>
          <p:nvPr>
            <p:ph type="body" sz="quarter" idx="10"/>
          </p:nvPr>
        </p:nvSpPr>
        <p:spPr>
          <a:xfrm>
            <a:off x="406400"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lvl1pPr>
              <a:defRPr>
                <a:latin typeface="+mj-lt"/>
              </a:defRPr>
            </a:lvl1pPr>
          </a:lstStyle>
          <a:p>
            <a:r>
              <a:rPr lang="fr-FR"/>
              <a:t>CLICK TO INSERT TITLE</a:t>
            </a:r>
            <a:endParaRPr lang="de-DE"/>
          </a:p>
        </p:txBody>
      </p:sp>
    </p:spTree>
    <p:extLst>
      <p:ext uri="{BB962C8B-B14F-4D97-AF65-F5344CB8AC3E}">
        <p14:creationId xmlns:p14="http://schemas.microsoft.com/office/powerpoint/2010/main" val="405571603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00669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Grey">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36643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30961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5B13A1-44D9-486D-9674-48B7A4B2C350}"/>
              </a:ext>
            </a:extLst>
          </p:cNvPr>
          <p:cNvPicPr>
            <a:picLocks noChangeAspect="1"/>
          </p:cNvPicPr>
          <p:nvPr userDrawn="1"/>
        </p:nvPicPr>
        <p:blipFill>
          <a:blip r:embed="rId2" cstate="screen">
            <a:extLst>
              <a:ext uri="{28A0092B-C50C-407E-A947-70E740481C1C}">
                <a14:useLocalDpi xmlns:a14="http://schemas.microsoft.com/office/drawing/2010/main"/>
              </a:ext>
            </a:extLst>
          </a:blip>
          <a:srcRect l="14084" t="9312" r="5116" b="12754"/>
          <a:stretch>
            <a:fillRect/>
          </a:stretch>
        </p:blipFill>
        <p:spPr>
          <a:xfrm>
            <a:off x="0" y="0"/>
            <a:ext cx="10056440" cy="6858000"/>
          </a:xfrm>
          <a:custGeom>
            <a:avLst/>
            <a:gdLst>
              <a:gd name="connsiteX0" fmla="*/ 0 w 10056440"/>
              <a:gd name="connsiteY0" fmla="*/ 0 h 6858000"/>
              <a:gd name="connsiteX1" fmla="*/ 10056440 w 10056440"/>
              <a:gd name="connsiteY1" fmla="*/ 0 h 6858000"/>
              <a:gd name="connsiteX2" fmla="*/ 10056440 w 10056440"/>
              <a:gd name="connsiteY2" fmla="*/ 6858000 h 6858000"/>
              <a:gd name="connsiteX3" fmla="*/ 0 w 100564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056440" h="6858000">
                <a:moveTo>
                  <a:pt x="0" y="0"/>
                </a:moveTo>
                <a:lnTo>
                  <a:pt x="10056440" y="0"/>
                </a:lnTo>
                <a:lnTo>
                  <a:pt x="10056440" y="6858000"/>
                </a:lnTo>
                <a:lnTo>
                  <a:pt x="0" y="6858000"/>
                </a:lnTo>
                <a:close/>
              </a:path>
            </a:pathLst>
          </a:custGeom>
        </p:spPr>
      </p:pic>
      <p:sp>
        <p:nvSpPr>
          <p:cNvPr id="12" name="Text Placeholder 10">
            <a:extLst>
              <a:ext uri="{FF2B5EF4-FFF2-40B4-BE49-F238E27FC236}">
                <a16:creationId xmlns:a16="http://schemas.microsoft.com/office/drawing/2014/main" id="{C7D49BEF-F074-4B8B-9CEF-E6E69476AFCA}"/>
              </a:ext>
            </a:extLst>
          </p:cNvPr>
          <p:cNvSpPr>
            <a:spLocks noGrp="1"/>
          </p:cNvSpPr>
          <p:nvPr>
            <p:ph type="body" sz="quarter" idx="10" hasCustomPrompt="1"/>
          </p:nvPr>
        </p:nvSpPr>
        <p:spPr>
          <a:xfrm>
            <a:off x="4872038" y="2173982"/>
            <a:ext cx="6926262" cy="1975098"/>
          </a:xfrm>
        </p:spPr>
        <p:txBody>
          <a:bodyPr anchor="ctr"/>
          <a:lstStyle>
            <a:lvl1pPr>
              <a:defRPr sz="4400" cap="all" baseline="0">
                <a:solidFill>
                  <a:schemeClr val="accent2"/>
                </a:solidFill>
                <a:latin typeface="+mj-lt"/>
              </a:defRPr>
            </a:lvl1pPr>
            <a:lvl2pPr marL="0" indent="0">
              <a:buNone/>
              <a:defRPr/>
            </a:lvl2pPr>
          </a:lstStyle>
          <a:p>
            <a:pPr lvl="0"/>
            <a:r>
              <a:rPr lang="en-US"/>
              <a:t>Click to insert title</a:t>
            </a:r>
          </a:p>
        </p:txBody>
      </p:sp>
    </p:spTree>
    <p:extLst>
      <p:ext uri="{BB962C8B-B14F-4D97-AF65-F5344CB8AC3E}">
        <p14:creationId xmlns:p14="http://schemas.microsoft.com/office/powerpoint/2010/main" val="29633664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Closing 1 Gray">
    <p:bg>
      <p:bgPr>
        <a:solidFill>
          <a:srgbClr val="272936"/>
        </a:solidFill>
        <a:effectLst/>
      </p:bgPr>
    </p:bg>
    <p:spTree>
      <p:nvGrpSpPr>
        <p:cNvPr id="1" name=""/>
        <p:cNvGrpSpPr/>
        <p:nvPr/>
      </p:nvGrpSpPr>
      <p:grpSpPr>
        <a:xfrm>
          <a:off x="0" y="0"/>
          <a:ext cx="0" cy="0"/>
          <a:chOff x="0" y="0"/>
          <a:chExt cx="0" cy="0"/>
        </a:xfrm>
      </p:grpSpPr>
      <p:sp>
        <p:nvSpPr>
          <p:cNvPr id="23" name="CR &amp; Confidentiality"/>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2 Capgemini. All rights reserved.</a:t>
            </a:r>
          </a:p>
        </p:txBody>
      </p:sp>
      <p:pic>
        <p:nvPicPr>
          <p:cNvPr id="34" name="Picture 33">
            <a:extLst>
              <a:ext uri="{FF2B5EF4-FFF2-40B4-BE49-F238E27FC236}">
                <a16:creationId xmlns:a16="http://schemas.microsoft.com/office/drawing/2014/main" id="{E60BD800-753D-4479-8C3F-C2C06E01A9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l="5078" r="8301"/>
          <a:stretch>
            <a:fillRect/>
          </a:stretch>
        </p:blipFill>
        <p:spPr>
          <a:xfrm rot="1808368" flipV="1">
            <a:off x="4222713" y="-1270111"/>
            <a:ext cx="9185558" cy="7497656"/>
          </a:xfrm>
          <a:custGeom>
            <a:avLst/>
            <a:gdLst>
              <a:gd name="connsiteX0" fmla="*/ 0 w 9185558"/>
              <a:gd name="connsiteY0" fmla="*/ 3948471 h 7497656"/>
              <a:gd name="connsiteX1" fmla="*/ 6112957 w 9185558"/>
              <a:gd name="connsiteY1" fmla="*/ 7497656 h 7497656"/>
              <a:gd name="connsiteX2" fmla="*/ 6320563 w 9185558"/>
              <a:gd name="connsiteY2" fmla="*/ 7497656 h 7497656"/>
              <a:gd name="connsiteX3" fmla="*/ 9185558 w 9185558"/>
              <a:gd name="connsiteY3" fmla="*/ 2563118 h 7497656"/>
              <a:gd name="connsiteX4" fmla="*/ 4770959 w 9185558"/>
              <a:gd name="connsiteY4" fmla="*/ 0 h 7497656"/>
              <a:gd name="connsiteX5" fmla="*/ 2292484 w 9185558"/>
              <a:gd name="connsiteY5" fmla="*/ 0 h 74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85558" h="7497656">
                <a:moveTo>
                  <a:pt x="0" y="3948471"/>
                </a:moveTo>
                <a:lnTo>
                  <a:pt x="6112957" y="7497656"/>
                </a:lnTo>
                <a:lnTo>
                  <a:pt x="6320563" y="7497656"/>
                </a:lnTo>
                <a:lnTo>
                  <a:pt x="9185558" y="2563118"/>
                </a:lnTo>
                <a:lnTo>
                  <a:pt x="4770959" y="0"/>
                </a:lnTo>
                <a:lnTo>
                  <a:pt x="2292484" y="0"/>
                </a:lnTo>
                <a:close/>
              </a:path>
            </a:pathLst>
          </a:custGeom>
        </p:spPr>
      </p:pic>
      <p:grpSp>
        <p:nvGrpSpPr>
          <p:cNvPr id="4" name="Boilerplate">
            <a:extLst>
              <a:ext uri="{FF2B5EF4-FFF2-40B4-BE49-F238E27FC236}">
                <a16:creationId xmlns:a16="http://schemas.microsoft.com/office/drawing/2014/main" id="{355DAE28-89DC-4F72-853C-8C1E599ABDB9}"/>
              </a:ext>
            </a:extLst>
          </p:cNvPr>
          <p:cNvGrpSpPr/>
          <p:nvPr userDrawn="1"/>
        </p:nvGrpSpPr>
        <p:grpSpPr>
          <a:xfrm>
            <a:off x="6536184" y="2939130"/>
            <a:ext cx="4638214" cy="1872894"/>
            <a:chOff x="6536184" y="2939130"/>
            <a:chExt cx="4638214" cy="1872894"/>
          </a:xfrm>
        </p:grpSpPr>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dirty="0">
                  <a:solidFill>
                    <a:schemeClr val="bg1"/>
                  </a:solidFill>
                  <a:effectLst/>
                  <a:latin typeface="+mn-l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mn-lt"/>
                </a:rPr>
                <a:t>About Capgemini</a:t>
              </a:r>
            </a:p>
          </p:txBody>
        </p:sp>
      </p:grpSp>
      <p:sp>
        <p:nvSpPr>
          <p:cNvPr id="16" name="Slogan &amp; CG URL"/>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mn-lt"/>
              </a:rPr>
              <a:t>Get The Future You Want </a:t>
            </a:r>
            <a:r>
              <a:rPr lang="en-US" sz="900" dirty="0">
                <a:solidFill>
                  <a:schemeClr val="bg1"/>
                </a:solidFill>
                <a:effectLst/>
                <a:latin typeface="+mn-lt"/>
              </a:rPr>
              <a:t>|</a:t>
            </a:r>
            <a:r>
              <a:rPr lang="en-GB" sz="900" dirty="0">
                <a:solidFill>
                  <a:schemeClr val="bg1"/>
                </a:solidFill>
                <a:effectLst/>
                <a:latin typeface="+mn-lt"/>
              </a:rPr>
              <a:t> </a:t>
            </a:r>
            <a:r>
              <a:rPr lang="en-US" sz="1050" dirty="0">
                <a:solidFill>
                  <a:schemeClr val="accent2"/>
                </a:solidFill>
                <a:latin typeface="+mn-lt"/>
              </a:rPr>
              <a:t>www.capgemini.com</a:t>
            </a:r>
          </a:p>
        </p:txBody>
      </p:sp>
      <p:grpSp>
        <p:nvGrpSpPr>
          <p:cNvPr id="22" name="Social Media Links">
            <a:extLst>
              <a:ext uri="{FF2B5EF4-FFF2-40B4-BE49-F238E27FC236}">
                <a16:creationId xmlns:a16="http://schemas.microsoft.com/office/drawing/2014/main" id="{72A899AB-FA13-4080-A6D1-C1D99ABC28EA}"/>
              </a:ext>
            </a:extLst>
          </p:cNvPr>
          <p:cNvGrpSpPr/>
          <p:nvPr userDrawn="1"/>
        </p:nvGrpSpPr>
        <p:grpSpPr>
          <a:xfrm>
            <a:off x="426720" y="4968013"/>
            <a:ext cx="1866702" cy="333195"/>
            <a:chOff x="426720" y="4968013"/>
            <a:chExt cx="1866702" cy="333195"/>
          </a:xfrm>
        </p:grpSpPr>
        <p:pic>
          <p:nvPicPr>
            <p:cNvPr id="24" name="LinkedIn Icon">
              <a:hlinkClick r:id="rId3"/>
              <a:extLst>
                <a:ext uri="{FF2B5EF4-FFF2-40B4-BE49-F238E27FC236}">
                  <a16:creationId xmlns:a16="http://schemas.microsoft.com/office/drawing/2014/main" id="{34DF7EBF-19B8-4438-A8E1-01F06007195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25" name="Slideshare Icon">
              <a:hlinkClick r:id="rId5"/>
              <a:extLst>
                <a:ext uri="{FF2B5EF4-FFF2-40B4-BE49-F238E27FC236}">
                  <a16:creationId xmlns:a16="http://schemas.microsoft.com/office/drawing/2014/main" id="{9A97FC51-233B-49B0-A0F4-DA413387BE5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26" name="Twitter Icon">
              <a:hlinkClick r:id="rId7"/>
              <a:extLst>
                <a:ext uri="{FF2B5EF4-FFF2-40B4-BE49-F238E27FC236}">
                  <a16:creationId xmlns:a16="http://schemas.microsoft.com/office/drawing/2014/main" id="{5255C755-B4EB-41C0-8E76-C6A7E09C347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7" name="Youtube Icon">
              <a:hlinkClick r:id="rId9"/>
              <a:extLst>
                <a:ext uri="{FF2B5EF4-FFF2-40B4-BE49-F238E27FC236}">
                  <a16:creationId xmlns:a16="http://schemas.microsoft.com/office/drawing/2014/main" id="{7EF20F7D-BFD3-4403-8168-47A297EAD74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9" name="Facebook Icon">
              <a:hlinkClick r:id="rId11"/>
              <a:extLst>
                <a:ext uri="{FF2B5EF4-FFF2-40B4-BE49-F238E27FC236}">
                  <a16:creationId xmlns:a16="http://schemas.microsoft.com/office/drawing/2014/main" id="{FDDCBD14-9657-4918-96BB-79A9677BC36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grpSp>
      <p:pic>
        <p:nvPicPr>
          <p:cNvPr id="17" name="Graphic 16">
            <a:extLst>
              <a:ext uri="{FF2B5EF4-FFF2-40B4-BE49-F238E27FC236}">
                <a16:creationId xmlns:a16="http://schemas.microsoft.com/office/drawing/2014/main" id="{1491A1C0-A202-4751-8155-1696179A320F}"/>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636" y="622152"/>
            <a:ext cx="3016065" cy="1226133"/>
          </a:xfrm>
          <a:prstGeom prst="rect">
            <a:avLst/>
          </a:prstGeom>
        </p:spPr>
      </p:pic>
    </p:spTree>
    <p:extLst>
      <p:ext uri="{BB962C8B-B14F-4D97-AF65-F5344CB8AC3E}">
        <p14:creationId xmlns:p14="http://schemas.microsoft.com/office/powerpoint/2010/main" val="3289282514"/>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Closing 1 White">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263393C-E643-478D-862A-8E824B43CF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l="5078" r="8301"/>
          <a:stretch>
            <a:fillRect/>
          </a:stretch>
        </p:blipFill>
        <p:spPr>
          <a:xfrm rot="1808368" flipV="1">
            <a:off x="4222713" y="-1270111"/>
            <a:ext cx="9185558" cy="7497656"/>
          </a:xfrm>
          <a:custGeom>
            <a:avLst/>
            <a:gdLst>
              <a:gd name="connsiteX0" fmla="*/ 0 w 9185558"/>
              <a:gd name="connsiteY0" fmla="*/ 3948471 h 7497656"/>
              <a:gd name="connsiteX1" fmla="*/ 6112957 w 9185558"/>
              <a:gd name="connsiteY1" fmla="*/ 7497656 h 7497656"/>
              <a:gd name="connsiteX2" fmla="*/ 6320563 w 9185558"/>
              <a:gd name="connsiteY2" fmla="*/ 7497656 h 7497656"/>
              <a:gd name="connsiteX3" fmla="*/ 9185558 w 9185558"/>
              <a:gd name="connsiteY3" fmla="*/ 2563118 h 7497656"/>
              <a:gd name="connsiteX4" fmla="*/ 4770959 w 9185558"/>
              <a:gd name="connsiteY4" fmla="*/ 0 h 7497656"/>
              <a:gd name="connsiteX5" fmla="*/ 2292484 w 9185558"/>
              <a:gd name="connsiteY5" fmla="*/ 0 h 74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85558" h="7497656">
                <a:moveTo>
                  <a:pt x="0" y="3948471"/>
                </a:moveTo>
                <a:lnTo>
                  <a:pt x="6112957" y="7497656"/>
                </a:lnTo>
                <a:lnTo>
                  <a:pt x="6320563" y="7497656"/>
                </a:lnTo>
                <a:lnTo>
                  <a:pt x="9185558" y="2563118"/>
                </a:lnTo>
                <a:lnTo>
                  <a:pt x="4770959" y="0"/>
                </a:lnTo>
                <a:lnTo>
                  <a:pt x="2292484" y="0"/>
                </a:lnTo>
                <a:close/>
              </a:path>
            </a:pathLst>
          </a:custGeom>
        </p:spPr>
      </p:pic>
      <p:sp>
        <p:nvSpPr>
          <p:cNvPr id="23" name="CR &amp; Confidentiality"/>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accent4"/>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accent4"/>
                </a:solidFill>
                <a:latin typeface="+mn-lt"/>
                <a:cs typeface="Arial"/>
              </a:rPr>
              <a:t>Copyright © 2022 Capgemini. All rights reserved.</a:t>
            </a:r>
          </a:p>
        </p:txBody>
      </p:sp>
      <p:grpSp>
        <p:nvGrpSpPr>
          <p:cNvPr id="7" name="Boilerplate">
            <a:extLst>
              <a:ext uri="{FF2B5EF4-FFF2-40B4-BE49-F238E27FC236}">
                <a16:creationId xmlns:a16="http://schemas.microsoft.com/office/drawing/2014/main" id="{515E8BB5-DAD2-4313-94A5-D8B64B2EB584}"/>
              </a:ext>
            </a:extLst>
          </p:cNvPr>
          <p:cNvGrpSpPr/>
          <p:nvPr userDrawn="1"/>
        </p:nvGrpSpPr>
        <p:grpSpPr>
          <a:xfrm>
            <a:off x="6536184" y="2939130"/>
            <a:ext cx="4638214" cy="1872894"/>
            <a:chOff x="6536184" y="2939130"/>
            <a:chExt cx="4638214" cy="1872894"/>
          </a:xfrm>
        </p:grpSpPr>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4"/>
                  </a:solidFill>
                  <a:latin typeface="+mn-lt"/>
                </a:rPr>
                <a:t>About Capgemini</a:t>
              </a:r>
            </a:p>
          </p:txBody>
        </p:sp>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dirty="0">
                  <a:solidFill>
                    <a:schemeClr val="accent4"/>
                  </a:solidFill>
                  <a:effectLst/>
                  <a:latin typeface="+mn-l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grpSp>
      <p:sp>
        <p:nvSpPr>
          <p:cNvPr id="16" name="Slogan &amp; CG URL"/>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accent4"/>
                </a:solidFill>
                <a:effectLst/>
                <a:latin typeface="+mn-lt"/>
              </a:rPr>
              <a:t>Get The Future You Want </a:t>
            </a:r>
            <a:r>
              <a:rPr lang="en-US" sz="900" dirty="0">
                <a:solidFill>
                  <a:schemeClr val="accent4"/>
                </a:solidFill>
                <a:effectLst/>
                <a:latin typeface="+mn-lt"/>
              </a:rPr>
              <a:t>|</a:t>
            </a:r>
            <a:r>
              <a:rPr lang="en-GB" sz="900" dirty="0">
                <a:solidFill>
                  <a:schemeClr val="accent1"/>
                </a:solidFill>
                <a:effectLst/>
                <a:latin typeface="+mn-lt"/>
              </a:rPr>
              <a:t> </a:t>
            </a:r>
            <a:r>
              <a:rPr lang="en-US" sz="1050" dirty="0">
                <a:solidFill>
                  <a:schemeClr val="accent1"/>
                </a:solidFill>
                <a:latin typeface="+mn-lt"/>
              </a:rPr>
              <a:t>www.capgemini.com</a:t>
            </a:r>
          </a:p>
        </p:txBody>
      </p:sp>
      <p:grpSp>
        <p:nvGrpSpPr>
          <p:cNvPr id="34" name="Social Media Links">
            <a:extLst>
              <a:ext uri="{FF2B5EF4-FFF2-40B4-BE49-F238E27FC236}">
                <a16:creationId xmlns:a16="http://schemas.microsoft.com/office/drawing/2014/main" id="{D594469D-1213-4DFE-9247-148076A10567}"/>
              </a:ext>
            </a:extLst>
          </p:cNvPr>
          <p:cNvGrpSpPr/>
          <p:nvPr userDrawn="1"/>
        </p:nvGrpSpPr>
        <p:grpSpPr>
          <a:xfrm>
            <a:off x="421882" y="4968013"/>
            <a:ext cx="1866702" cy="333195"/>
            <a:chOff x="421882" y="4968013"/>
            <a:chExt cx="1866702" cy="333195"/>
          </a:xfrm>
        </p:grpSpPr>
        <p:pic>
          <p:nvPicPr>
            <p:cNvPr id="35" name="LinkedIn Icon">
              <a:hlinkClick r:id="rId3"/>
              <a:extLst>
                <a:ext uri="{FF2B5EF4-FFF2-40B4-BE49-F238E27FC236}">
                  <a16:creationId xmlns:a16="http://schemas.microsoft.com/office/drawing/2014/main" id="{B6EA213A-F7B6-40A4-A381-49B576D35DC7}"/>
                </a:ext>
              </a:extLst>
            </p:cNvPr>
            <p:cNvPicPr>
              <a:picLocks noChangeAspect="1" noChangeArrowheads="1"/>
            </p:cNvPicPr>
            <p:nvPr userDrawn="1"/>
          </p:nvPicPr>
          <p:blipFill>
            <a:blip r:embed="rId4"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805259" y="4968013"/>
              <a:ext cx="333195" cy="333195"/>
            </a:xfrm>
            <a:prstGeom prst="rect">
              <a:avLst/>
            </a:prstGeom>
            <a:noFill/>
          </p:spPr>
        </p:pic>
        <p:pic>
          <p:nvPicPr>
            <p:cNvPr id="36" name="Slideshare Icon">
              <a:hlinkClick r:id="rId6"/>
              <a:extLst>
                <a:ext uri="{FF2B5EF4-FFF2-40B4-BE49-F238E27FC236}">
                  <a16:creationId xmlns:a16="http://schemas.microsoft.com/office/drawing/2014/main" id="{7B7404F3-848D-45AB-99EC-4903ABFAFF50}"/>
                </a:ext>
              </a:extLst>
            </p:cNvPr>
            <p:cNvPicPr>
              <a:picLocks noChangeAspect="1" noChangeArrowheads="1"/>
            </p:cNvPicPr>
            <p:nvPr userDrawn="1"/>
          </p:nvPicPr>
          <p:blipFill>
            <a:blip r:embed="rId7"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88636" y="4968013"/>
              <a:ext cx="333195" cy="333195"/>
            </a:xfrm>
            <a:prstGeom prst="rect">
              <a:avLst/>
            </a:prstGeom>
            <a:noFill/>
          </p:spPr>
        </p:pic>
        <p:pic>
          <p:nvPicPr>
            <p:cNvPr id="37" name="Twitter Icon">
              <a:hlinkClick r:id="rId9"/>
              <a:extLst>
                <a:ext uri="{FF2B5EF4-FFF2-40B4-BE49-F238E27FC236}">
                  <a16:creationId xmlns:a16="http://schemas.microsoft.com/office/drawing/2014/main" id="{4FA6F1ED-EFA9-4928-ACD5-C4835A9AC820}"/>
                </a:ext>
              </a:extLst>
            </p:cNvPr>
            <p:cNvPicPr>
              <a:picLocks noChangeAspect="1" noChangeArrowheads="1"/>
            </p:cNvPicPr>
            <p:nvPr userDrawn="1"/>
          </p:nvPicPr>
          <p:blipFill>
            <a:blip r:embed="rId10"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572013" y="4968013"/>
              <a:ext cx="333195" cy="333195"/>
            </a:xfrm>
            <a:prstGeom prst="rect">
              <a:avLst/>
            </a:prstGeom>
            <a:noFill/>
          </p:spPr>
        </p:pic>
        <p:pic>
          <p:nvPicPr>
            <p:cNvPr id="38" name="Youtube Icon">
              <a:hlinkClick r:id="rId12"/>
              <a:extLst>
                <a:ext uri="{FF2B5EF4-FFF2-40B4-BE49-F238E27FC236}">
                  <a16:creationId xmlns:a16="http://schemas.microsoft.com/office/drawing/2014/main" id="{DCE7FC7D-B8AC-47F9-8211-5DC6FD4572BE}"/>
                </a:ext>
              </a:extLst>
            </p:cNvPr>
            <p:cNvPicPr>
              <a:picLocks noChangeAspect="1" noChangeArrowheads="1"/>
            </p:cNvPicPr>
            <p:nvPr userDrawn="1"/>
          </p:nvPicPr>
          <p:blipFill>
            <a:blip r:embed="rId13"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955389" y="4968013"/>
              <a:ext cx="333195" cy="333195"/>
            </a:xfrm>
            <a:prstGeom prst="rect">
              <a:avLst/>
            </a:prstGeom>
            <a:noFill/>
          </p:spPr>
        </p:pic>
        <p:pic>
          <p:nvPicPr>
            <p:cNvPr id="39" name="Facebook Icon">
              <a:hlinkClick r:id="rId15"/>
              <a:extLst>
                <a:ext uri="{FF2B5EF4-FFF2-40B4-BE49-F238E27FC236}">
                  <a16:creationId xmlns:a16="http://schemas.microsoft.com/office/drawing/2014/main" id="{BB8A65C1-EEAB-4E60-8E1F-36E637448DBE}"/>
                </a:ext>
              </a:extLst>
            </p:cNvPr>
            <p:cNvPicPr>
              <a:picLocks noChangeAspect="1" noChangeArrowheads="1"/>
            </p:cNvPicPr>
            <p:nvPr userDrawn="1"/>
          </p:nvPicPr>
          <p:blipFill>
            <a:blip r:embed="rId16"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421882" y="4968013"/>
              <a:ext cx="333195" cy="333195"/>
            </a:xfrm>
            <a:prstGeom prst="rect">
              <a:avLst/>
            </a:prstGeom>
            <a:noFill/>
          </p:spPr>
        </p:pic>
      </p:grpSp>
      <p:pic>
        <p:nvPicPr>
          <p:cNvPr id="17" name="Graphic 16">
            <a:extLst>
              <a:ext uri="{FF2B5EF4-FFF2-40B4-BE49-F238E27FC236}">
                <a16:creationId xmlns:a16="http://schemas.microsoft.com/office/drawing/2014/main" id="{53C360EE-2F8C-4F56-B24B-0504D5FC6DFE}"/>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636" y="622152"/>
            <a:ext cx="3016065" cy="1226133"/>
          </a:xfrm>
          <a:prstGeom prst="rect">
            <a:avLst/>
          </a:prstGeom>
        </p:spPr>
      </p:pic>
    </p:spTree>
    <p:extLst>
      <p:ext uri="{BB962C8B-B14F-4D97-AF65-F5344CB8AC3E}">
        <p14:creationId xmlns:p14="http://schemas.microsoft.com/office/powerpoint/2010/main" val="410004015"/>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Agenda Slide dark grey">
    <p:bg>
      <p:bgPr>
        <a:solidFill>
          <a:schemeClr val="accent4"/>
        </a:solidFill>
        <a:effectLst/>
      </p:bgPr>
    </p:bg>
    <p:spTree>
      <p:nvGrpSpPr>
        <p:cNvPr id="1" name=""/>
        <p:cNvGrpSpPr/>
        <p:nvPr/>
      </p:nvGrpSpPr>
      <p:grpSpPr>
        <a:xfrm>
          <a:off x="0" y="0"/>
          <a:ext cx="0" cy="0"/>
          <a:chOff x="0" y="0"/>
          <a:chExt cx="0" cy="0"/>
        </a:xfrm>
      </p:grpSpPr>
      <p:sp>
        <p:nvSpPr>
          <p:cNvPr id="12" name="Agenda Title">
            <a:extLst>
              <a:ext uri="{FF2B5EF4-FFF2-40B4-BE49-F238E27FC236}">
                <a16:creationId xmlns:a16="http://schemas.microsoft.com/office/drawing/2014/main" id="{1D9A725D-57CE-484F-951F-D92E09399FEA}"/>
              </a:ext>
            </a:extLst>
          </p:cNvPr>
          <p:cNvSpPr>
            <a:spLocks noGrp="1"/>
          </p:cNvSpPr>
          <p:nvPr>
            <p:ph type="title" hasCustomPrompt="1"/>
          </p:nvPr>
        </p:nvSpPr>
        <p:spPr>
          <a:xfrm>
            <a:off x="406200" y="388188"/>
            <a:ext cx="10944597" cy="716711"/>
          </a:xfrm>
          <a:prstGeom prst="rect">
            <a:avLst/>
          </a:prstGeom>
        </p:spPr>
        <p:txBody>
          <a:bodyPr/>
          <a:lstStyle>
            <a:lvl1pPr>
              <a:defRPr sz="6000">
                <a:solidFill>
                  <a:schemeClr val="bg1"/>
                </a:solidFill>
              </a:defRPr>
            </a:lvl1pPr>
          </a:lstStyle>
          <a:p>
            <a:r>
              <a:rPr lang="fr-FR"/>
              <a:t>Agenda</a:t>
            </a:r>
            <a:endParaRPr lang="de-DE"/>
          </a:p>
        </p:txBody>
      </p:sp>
      <p:sp>
        <p:nvSpPr>
          <p:cNvPr id="4" name="AgendaText">
            <a:extLst>
              <a:ext uri="{FF2B5EF4-FFF2-40B4-BE49-F238E27FC236}">
                <a16:creationId xmlns:a16="http://schemas.microsoft.com/office/drawing/2014/main" id="{7E84FF79-EB30-4235-9420-AC39206004F1}"/>
              </a:ext>
            </a:extLst>
          </p:cNvPr>
          <p:cNvSpPr>
            <a:spLocks noGrp="1"/>
          </p:cNvSpPr>
          <p:nvPr>
            <p:ph type="body" sz="quarter" idx="13"/>
          </p:nvPr>
        </p:nvSpPr>
        <p:spPr>
          <a:xfrm>
            <a:off x="406200" y="1813299"/>
            <a:ext cx="11379600" cy="380480"/>
          </a:xfrm>
          <a:prstGeom prst="rect">
            <a:avLst/>
          </a:prstGeom>
        </p:spPr>
        <p:txBody>
          <a:bodyPr wrap="square" tIns="36000" bIns="36000" anchor="t">
            <a:spAutoFit/>
          </a:bodyPr>
          <a:lstStyle>
            <a:lvl1pPr marL="97200" marR="0" indent="0" algn="l" defTabSz="914400" rtl="0" eaLnBrk="1" fontAlgn="auto" latinLnBrk="0" hangingPunct="1">
              <a:lnSpc>
                <a:spcPct val="100000"/>
              </a:lnSpc>
              <a:spcBef>
                <a:spcPts val="1296"/>
              </a:spcBef>
              <a:spcAft>
                <a:spcPts val="0"/>
              </a:spcAft>
              <a:buClr>
                <a:schemeClr val="accent1"/>
              </a:buClr>
              <a:buSzTx/>
              <a:buFont typeface="Wingdings" pitchFamily="2" charset="2"/>
              <a:buNone/>
              <a:tabLst/>
              <a:defRPr sz="2000" cap="all" baseline="0">
                <a:solidFill>
                  <a:schemeClr val="bg1"/>
                </a:solidFill>
                <a:latin typeface="+mj-lt"/>
              </a:defRPr>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Tree>
    <p:extLst>
      <p:ext uri="{BB962C8B-B14F-4D97-AF65-F5344CB8AC3E}">
        <p14:creationId xmlns:p14="http://schemas.microsoft.com/office/powerpoint/2010/main" val="205450225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873524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Agenda Slide">
    <p:spTree>
      <p:nvGrpSpPr>
        <p:cNvPr id="1" name=""/>
        <p:cNvGrpSpPr/>
        <p:nvPr/>
      </p:nvGrpSpPr>
      <p:grpSpPr>
        <a:xfrm>
          <a:off x="0" y="0"/>
          <a:ext cx="0" cy="0"/>
          <a:chOff x="0" y="0"/>
          <a:chExt cx="0" cy="0"/>
        </a:xfrm>
      </p:grpSpPr>
      <p:sp>
        <p:nvSpPr>
          <p:cNvPr id="12" name="Agenda Title">
            <a:extLst>
              <a:ext uri="{FF2B5EF4-FFF2-40B4-BE49-F238E27FC236}">
                <a16:creationId xmlns:a16="http://schemas.microsoft.com/office/drawing/2014/main" id="{1D9A725D-57CE-484F-951F-D92E09399FEA}"/>
              </a:ext>
            </a:extLst>
          </p:cNvPr>
          <p:cNvSpPr>
            <a:spLocks noGrp="1"/>
          </p:cNvSpPr>
          <p:nvPr>
            <p:ph type="title" hasCustomPrompt="1"/>
          </p:nvPr>
        </p:nvSpPr>
        <p:spPr>
          <a:xfrm>
            <a:off x="406200" y="388188"/>
            <a:ext cx="10944597" cy="716711"/>
          </a:xfrm>
          <a:prstGeom prst="rect">
            <a:avLst/>
          </a:prstGeom>
        </p:spPr>
        <p:txBody>
          <a:bodyPr/>
          <a:lstStyle>
            <a:lvl1pPr>
              <a:defRPr sz="6000"/>
            </a:lvl1pPr>
          </a:lstStyle>
          <a:p>
            <a:r>
              <a:rPr lang="fr-FR"/>
              <a:t>Agenda</a:t>
            </a:r>
            <a:endParaRPr lang="de-DE"/>
          </a:p>
        </p:txBody>
      </p:sp>
      <p:sp>
        <p:nvSpPr>
          <p:cNvPr id="4" name="AgendaText">
            <a:extLst>
              <a:ext uri="{FF2B5EF4-FFF2-40B4-BE49-F238E27FC236}">
                <a16:creationId xmlns:a16="http://schemas.microsoft.com/office/drawing/2014/main" id="{7E84FF79-EB30-4235-9420-AC39206004F1}"/>
              </a:ext>
            </a:extLst>
          </p:cNvPr>
          <p:cNvSpPr>
            <a:spLocks noGrp="1"/>
          </p:cNvSpPr>
          <p:nvPr>
            <p:ph type="body" sz="quarter" idx="13"/>
          </p:nvPr>
        </p:nvSpPr>
        <p:spPr>
          <a:xfrm>
            <a:off x="406200" y="1813299"/>
            <a:ext cx="11379600" cy="380480"/>
          </a:xfrm>
          <a:prstGeom prst="rect">
            <a:avLst/>
          </a:prstGeom>
        </p:spPr>
        <p:txBody>
          <a:bodyPr wrap="square" tIns="36000" bIns="36000" anchor="t">
            <a:spAutoFit/>
          </a:bodyPr>
          <a:lstStyle>
            <a:lvl1pPr marL="97200" marR="0" indent="0" algn="l" defTabSz="914400" rtl="0" eaLnBrk="1" fontAlgn="auto" latinLnBrk="0" hangingPunct="1">
              <a:lnSpc>
                <a:spcPct val="100000"/>
              </a:lnSpc>
              <a:spcBef>
                <a:spcPts val="1296"/>
              </a:spcBef>
              <a:spcAft>
                <a:spcPts val="0"/>
              </a:spcAft>
              <a:buClr>
                <a:schemeClr val="accent1"/>
              </a:buClr>
              <a:buSzTx/>
              <a:buFont typeface="Wingdings" pitchFamily="2" charset="2"/>
              <a:buNone/>
              <a:tabLst/>
              <a:defRPr sz="2000" cap="all" baseline="0">
                <a:latin typeface="+mj-lt"/>
              </a:defRPr>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Tree>
    <p:extLst>
      <p:ext uri="{BB962C8B-B14F-4D97-AF65-F5344CB8AC3E}">
        <p14:creationId xmlns:p14="http://schemas.microsoft.com/office/powerpoint/2010/main" val="272732119"/>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Agenda Slide Big Topics Shape dark grey">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18E71A-D5A3-4B45-9E0D-C1895244D6CA}"/>
              </a:ext>
            </a:extLst>
          </p:cNvPr>
          <p:cNvPicPr>
            <a:picLocks noChangeAspect="1"/>
          </p:cNvPicPr>
          <p:nvPr userDrawn="1"/>
        </p:nvPicPr>
        <p:blipFill>
          <a:blip r:embed="rId2">
            <a:extLst>
              <a:ext uri="{28A0092B-C50C-407E-A947-70E740481C1C}">
                <a14:useLocalDpi xmlns:a14="http://schemas.microsoft.com/office/drawing/2010/main" val="0"/>
              </a:ext>
            </a:extLst>
          </a:blip>
          <a:srcRect r="10405" b="15461"/>
          <a:stretch>
            <a:fillRect/>
          </a:stretch>
        </p:blipFill>
        <p:spPr>
          <a:xfrm rot="21057776" flipH="1" flipV="1">
            <a:off x="-555092" y="-741049"/>
            <a:ext cx="11009441" cy="7347847"/>
          </a:xfrm>
          <a:custGeom>
            <a:avLst/>
            <a:gdLst>
              <a:gd name="connsiteX0" fmla="*/ 9932232 w 11009441"/>
              <a:gd name="connsiteY0" fmla="*/ 7347847 h 7347847"/>
              <a:gd name="connsiteX1" fmla="*/ 0 w 11009441"/>
              <a:gd name="connsiteY1" fmla="*/ 5768149 h 7347847"/>
              <a:gd name="connsiteX2" fmla="*/ 0 w 11009441"/>
              <a:gd name="connsiteY2" fmla="*/ 0 h 7347847"/>
              <a:gd name="connsiteX3" fmla="*/ 7394321 w 11009441"/>
              <a:gd name="connsiteY3" fmla="*/ 0 h 7347847"/>
              <a:gd name="connsiteX4" fmla="*/ 11009441 w 11009441"/>
              <a:gd name="connsiteY4" fmla="*/ 574976 h 7347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9441" h="7347847">
                <a:moveTo>
                  <a:pt x="9932232" y="7347847"/>
                </a:moveTo>
                <a:lnTo>
                  <a:pt x="0" y="5768149"/>
                </a:lnTo>
                <a:lnTo>
                  <a:pt x="0" y="0"/>
                </a:lnTo>
                <a:lnTo>
                  <a:pt x="7394321" y="0"/>
                </a:lnTo>
                <a:lnTo>
                  <a:pt x="11009441" y="574976"/>
                </a:lnTo>
                <a:close/>
              </a:path>
            </a:pathLst>
          </a:custGeom>
        </p:spPr>
      </p:pic>
      <p:sp>
        <p:nvSpPr>
          <p:cNvPr id="9" name="AgendaText">
            <a:extLst>
              <a:ext uri="{FF2B5EF4-FFF2-40B4-BE49-F238E27FC236}">
                <a16:creationId xmlns:a16="http://schemas.microsoft.com/office/drawing/2014/main" id="{30895820-106C-407C-B0F8-787497DB7ED1}"/>
              </a:ext>
            </a:extLst>
          </p:cNvPr>
          <p:cNvSpPr>
            <a:spLocks noGrp="1"/>
          </p:cNvSpPr>
          <p:nvPr>
            <p:ph type="body" sz="quarter" idx="13" hasCustomPrompt="1"/>
          </p:nvPr>
        </p:nvSpPr>
        <p:spPr>
          <a:xfrm>
            <a:off x="1622008" y="1851720"/>
            <a:ext cx="10002352" cy="4422305"/>
          </a:xfrm>
          <a:prstGeom prst="rect">
            <a:avLst/>
          </a:prstGeom>
        </p:spPr>
        <p:txBody>
          <a:bodyPr wrap="square" tIns="72000" numCol="1" spcCol="180000" anchor="t">
            <a:noAutofit/>
          </a:bodyPr>
          <a:lstStyle>
            <a:lvl1pPr marL="0" marR="0" indent="0" algn="l" defTabSz="914400" rtl="0" eaLnBrk="1" fontAlgn="auto" latinLnBrk="0" hangingPunct="1">
              <a:lnSpc>
                <a:spcPts val="7000"/>
              </a:lnSpc>
              <a:spcBef>
                <a:spcPts val="0"/>
              </a:spcBef>
              <a:spcAft>
                <a:spcPts val="0"/>
              </a:spcAft>
              <a:buClr>
                <a:schemeClr val="accent1"/>
              </a:buClr>
              <a:buSzTx/>
              <a:buFont typeface="Wingdings" pitchFamily="2" charset="2"/>
              <a:buNone/>
              <a:tabLst>
                <a:tab pos="180000" algn="l"/>
              </a:tabLst>
              <a:defRPr sz="6000" b="1" cap="all" baseline="0">
                <a:solidFill>
                  <a:schemeClr val="bg1"/>
                </a:solidFill>
                <a:latin typeface="+mn-lt"/>
              </a:defRPr>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Topic 1</a:t>
            </a:r>
          </a:p>
        </p:txBody>
      </p:sp>
      <p:sp>
        <p:nvSpPr>
          <p:cNvPr id="5" name="Agenda Title">
            <a:extLst>
              <a:ext uri="{FF2B5EF4-FFF2-40B4-BE49-F238E27FC236}">
                <a16:creationId xmlns:a16="http://schemas.microsoft.com/office/drawing/2014/main" id="{3DA075CA-6E57-41B0-ACAE-9A04410587C3}"/>
              </a:ext>
            </a:extLst>
          </p:cNvPr>
          <p:cNvSpPr>
            <a:spLocks noGrp="1"/>
          </p:cNvSpPr>
          <p:nvPr>
            <p:ph type="title" hasCustomPrompt="1"/>
          </p:nvPr>
        </p:nvSpPr>
        <p:spPr>
          <a:xfrm>
            <a:off x="406200" y="388188"/>
            <a:ext cx="10944597" cy="716711"/>
          </a:xfrm>
          <a:prstGeom prst="rect">
            <a:avLst/>
          </a:prstGeom>
        </p:spPr>
        <p:txBody>
          <a:bodyPr/>
          <a:lstStyle>
            <a:lvl1pPr>
              <a:defRPr sz="6000">
                <a:solidFill>
                  <a:schemeClr val="bg1"/>
                </a:solidFill>
              </a:defRPr>
            </a:lvl1pPr>
          </a:lstStyle>
          <a:p>
            <a:r>
              <a:rPr lang="fr-FR"/>
              <a:t>Agenda</a:t>
            </a:r>
            <a:endParaRPr lang="de-DE"/>
          </a:p>
        </p:txBody>
      </p:sp>
    </p:spTree>
    <p:extLst>
      <p:ext uri="{BB962C8B-B14F-4D97-AF65-F5344CB8AC3E}">
        <p14:creationId xmlns:p14="http://schemas.microsoft.com/office/powerpoint/2010/main" val="2468069810"/>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Agenda Slide dark grey mix">
    <p:bg>
      <p:bgPr>
        <a:solidFill>
          <a:schemeClr val="accent4"/>
        </a:solidFill>
        <a:effectLst/>
      </p:bgPr>
    </p:bg>
    <p:spTree>
      <p:nvGrpSpPr>
        <p:cNvPr id="1" name=""/>
        <p:cNvGrpSpPr/>
        <p:nvPr/>
      </p:nvGrpSpPr>
      <p:grpSpPr>
        <a:xfrm>
          <a:off x="0" y="0"/>
          <a:ext cx="0" cy="0"/>
          <a:chOff x="0" y="0"/>
          <a:chExt cx="0" cy="0"/>
        </a:xfrm>
      </p:grpSpPr>
      <p:sp>
        <p:nvSpPr>
          <p:cNvPr id="12" name="Agenda Title">
            <a:extLst>
              <a:ext uri="{FF2B5EF4-FFF2-40B4-BE49-F238E27FC236}">
                <a16:creationId xmlns:a16="http://schemas.microsoft.com/office/drawing/2014/main" id="{1D9A725D-57CE-484F-951F-D92E09399FEA}"/>
              </a:ext>
            </a:extLst>
          </p:cNvPr>
          <p:cNvSpPr>
            <a:spLocks noGrp="1"/>
          </p:cNvSpPr>
          <p:nvPr>
            <p:ph type="title" hasCustomPrompt="1"/>
          </p:nvPr>
        </p:nvSpPr>
        <p:spPr>
          <a:xfrm>
            <a:off x="406200" y="388188"/>
            <a:ext cx="10944597" cy="716711"/>
          </a:xfrm>
          <a:prstGeom prst="rect">
            <a:avLst/>
          </a:prstGeom>
        </p:spPr>
        <p:txBody>
          <a:bodyPr/>
          <a:lstStyle>
            <a:lvl1pPr>
              <a:defRPr sz="6000">
                <a:solidFill>
                  <a:schemeClr val="bg1"/>
                </a:solidFill>
              </a:defRPr>
            </a:lvl1pPr>
          </a:lstStyle>
          <a:p>
            <a:r>
              <a:rPr lang="fr-FR"/>
              <a:t>Agenda</a:t>
            </a:r>
            <a:endParaRPr lang="de-DE"/>
          </a:p>
        </p:txBody>
      </p:sp>
    </p:spTree>
    <p:extLst>
      <p:ext uri="{BB962C8B-B14F-4D97-AF65-F5344CB8AC3E}">
        <p14:creationId xmlns:p14="http://schemas.microsoft.com/office/powerpoint/2010/main" val="437525362"/>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Agenda Slide_White">
    <p:bg>
      <p:bgPr>
        <a:solidFill>
          <a:schemeClr val="bg1"/>
        </a:solidFill>
        <a:effectLst/>
      </p:bgPr>
    </p:bg>
    <p:spTree>
      <p:nvGrpSpPr>
        <p:cNvPr id="1" name=""/>
        <p:cNvGrpSpPr/>
        <p:nvPr/>
      </p:nvGrpSpPr>
      <p:grpSpPr>
        <a:xfrm>
          <a:off x="0" y="0"/>
          <a:ext cx="0" cy="0"/>
          <a:chOff x="0" y="0"/>
          <a:chExt cx="0" cy="0"/>
        </a:xfrm>
      </p:grpSpPr>
      <p:sp>
        <p:nvSpPr>
          <p:cNvPr id="12" name="Agenda Title">
            <a:extLst>
              <a:ext uri="{FF2B5EF4-FFF2-40B4-BE49-F238E27FC236}">
                <a16:creationId xmlns:a16="http://schemas.microsoft.com/office/drawing/2014/main" id="{1D9A725D-57CE-484F-951F-D92E09399FEA}"/>
              </a:ext>
            </a:extLst>
          </p:cNvPr>
          <p:cNvSpPr>
            <a:spLocks noGrp="1"/>
          </p:cNvSpPr>
          <p:nvPr>
            <p:ph type="title" hasCustomPrompt="1"/>
          </p:nvPr>
        </p:nvSpPr>
        <p:spPr>
          <a:xfrm>
            <a:off x="406200" y="388188"/>
            <a:ext cx="10944597" cy="716711"/>
          </a:xfrm>
          <a:prstGeom prst="rect">
            <a:avLst/>
          </a:prstGeom>
        </p:spPr>
        <p:txBody>
          <a:bodyPr/>
          <a:lstStyle>
            <a:lvl1pPr>
              <a:defRPr sz="6000"/>
            </a:lvl1pPr>
          </a:lstStyle>
          <a:p>
            <a:r>
              <a:rPr lang="fr-FR"/>
              <a:t>Agenda</a:t>
            </a:r>
            <a:endParaRPr lang="de-DE"/>
          </a:p>
        </p:txBody>
      </p:sp>
    </p:spTree>
    <p:extLst>
      <p:ext uri="{BB962C8B-B14F-4D97-AF65-F5344CB8AC3E}">
        <p14:creationId xmlns:p14="http://schemas.microsoft.com/office/powerpoint/2010/main" val="1798869292"/>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ection2">
    <p:bg>
      <p:bgPr>
        <a:solidFill>
          <a:schemeClr val="accent1"/>
        </a:solidFill>
        <a:effectLst/>
      </p:bgPr>
    </p:bg>
    <p:spTree>
      <p:nvGrpSpPr>
        <p:cNvPr id="1" name=""/>
        <p:cNvGrpSpPr/>
        <p:nvPr/>
      </p:nvGrpSpPr>
      <p:grpSpPr>
        <a:xfrm>
          <a:off x="0" y="0"/>
          <a:ext cx="0" cy="0"/>
          <a:chOff x="0" y="0"/>
          <a:chExt cx="0" cy="0"/>
        </a:xfrm>
      </p:grpSpPr>
      <p:sp>
        <p:nvSpPr>
          <p:cNvPr id="12" name="Text Placeholder 10">
            <a:extLst>
              <a:ext uri="{FF2B5EF4-FFF2-40B4-BE49-F238E27FC236}">
                <a16:creationId xmlns:a16="http://schemas.microsoft.com/office/drawing/2014/main" id="{C7D49BEF-F074-4B8B-9CEF-E6E69476AFCA}"/>
              </a:ext>
            </a:extLst>
          </p:cNvPr>
          <p:cNvSpPr>
            <a:spLocks noGrp="1"/>
          </p:cNvSpPr>
          <p:nvPr>
            <p:ph type="body" sz="quarter" idx="10" hasCustomPrompt="1"/>
          </p:nvPr>
        </p:nvSpPr>
        <p:spPr>
          <a:xfrm>
            <a:off x="4872038" y="2173982"/>
            <a:ext cx="6926262" cy="1975098"/>
          </a:xfrm>
        </p:spPr>
        <p:txBody>
          <a:bodyPr anchor="ctr"/>
          <a:lstStyle>
            <a:lvl1pPr>
              <a:defRPr sz="4400" cap="all" baseline="0">
                <a:solidFill>
                  <a:schemeClr val="bg1"/>
                </a:solidFill>
                <a:latin typeface="+mj-lt"/>
              </a:defRPr>
            </a:lvl1pPr>
            <a:lvl2pPr marL="0" indent="0">
              <a:buNone/>
              <a:defRPr/>
            </a:lvl2pPr>
          </a:lstStyle>
          <a:p>
            <a:pPr lvl="0"/>
            <a:r>
              <a:rPr lang="en-US"/>
              <a:t>Click to insert title</a:t>
            </a:r>
          </a:p>
        </p:txBody>
      </p:sp>
      <p:grpSp>
        <p:nvGrpSpPr>
          <p:cNvPr id="4" name="Group 3">
            <a:extLst>
              <a:ext uri="{FF2B5EF4-FFF2-40B4-BE49-F238E27FC236}">
                <a16:creationId xmlns:a16="http://schemas.microsoft.com/office/drawing/2014/main" id="{4EB6F875-F82F-420B-820C-C932556C94EE}"/>
              </a:ext>
            </a:extLst>
          </p:cNvPr>
          <p:cNvGrpSpPr/>
          <p:nvPr userDrawn="1"/>
        </p:nvGrpSpPr>
        <p:grpSpPr>
          <a:xfrm>
            <a:off x="11496600" y="188640"/>
            <a:ext cx="576064" cy="504056"/>
            <a:chOff x="11496600" y="188640"/>
            <a:chExt cx="576064" cy="504056"/>
          </a:xfrm>
        </p:grpSpPr>
        <p:sp>
          <p:nvSpPr>
            <p:cNvPr id="5" name="Rectangle 4">
              <a:extLst>
                <a:ext uri="{FF2B5EF4-FFF2-40B4-BE49-F238E27FC236}">
                  <a16:creationId xmlns:a16="http://schemas.microsoft.com/office/drawing/2014/main" id="{854DA410-3D8C-4331-A67A-7FAB5AA012B8}"/>
                </a:ext>
              </a:extLst>
            </p:cNvPr>
            <p:cNvSpPr/>
            <p:nvPr userDrawn="1"/>
          </p:nvSpPr>
          <p:spPr>
            <a:xfrm>
              <a:off x="11496600" y="188640"/>
              <a:ext cx="576064" cy="5040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grpSp>
          <p:nvGrpSpPr>
            <p:cNvPr id="6" name="Group 37">
              <a:extLst>
                <a:ext uri="{FF2B5EF4-FFF2-40B4-BE49-F238E27FC236}">
                  <a16:creationId xmlns:a16="http://schemas.microsoft.com/office/drawing/2014/main" id="{5C18591F-7613-4614-8AF8-25BA3CE3975C}"/>
                </a:ext>
              </a:extLst>
            </p:cNvPr>
            <p:cNvGrpSpPr/>
            <p:nvPr userDrawn="1"/>
          </p:nvGrpSpPr>
          <p:grpSpPr>
            <a:xfrm>
              <a:off x="11559747" y="210928"/>
              <a:ext cx="413177" cy="382296"/>
              <a:chOff x="5481638" y="2859088"/>
              <a:chExt cx="1231900" cy="1139825"/>
            </a:xfrm>
            <a:solidFill>
              <a:schemeClr val="bg1"/>
            </a:solidFill>
          </p:grpSpPr>
          <p:sp>
            <p:nvSpPr>
              <p:cNvPr id="7" name="Freeform 320">
                <a:extLst>
                  <a:ext uri="{FF2B5EF4-FFF2-40B4-BE49-F238E27FC236}">
                    <a16:creationId xmlns:a16="http://schemas.microsoft.com/office/drawing/2014/main" id="{85EBC5C0-8C7E-4015-92F6-133442530AC4}"/>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321">
                <a:extLst>
                  <a:ext uri="{FF2B5EF4-FFF2-40B4-BE49-F238E27FC236}">
                    <a16:creationId xmlns:a16="http://schemas.microsoft.com/office/drawing/2014/main" id="{85BE9FD5-F90A-4E7A-970C-20DDD8DAF2AA}"/>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pic>
        <p:nvPicPr>
          <p:cNvPr id="10" name="Picture 9">
            <a:extLst>
              <a:ext uri="{FF2B5EF4-FFF2-40B4-BE49-F238E27FC236}">
                <a16:creationId xmlns:a16="http://schemas.microsoft.com/office/drawing/2014/main" id="{71FD6EA3-39F1-4D0C-8847-92B323AE5726}"/>
              </a:ext>
            </a:extLst>
          </p:cNvPr>
          <p:cNvPicPr>
            <a:picLocks noChangeAspect="1"/>
          </p:cNvPicPr>
          <p:nvPr userDrawn="1"/>
        </p:nvPicPr>
        <p:blipFill>
          <a:blip r:embed="rId2" cstate="screen">
            <a:extLst>
              <a:ext uri="{28A0092B-C50C-407E-A947-70E740481C1C}">
                <a14:useLocalDpi xmlns:a14="http://schemas.microsoft.com/office/drawing/2010/main"/>
              </a:ext>
            </a:extLst>
          </a:blip>
          <a:srcRect l="14084" t="9312" b="12754"/>
          <a:stretch>
            <a:fillRect/>
          </a:stretch>
        </p:blipFill>
        <p:spPr>
          <a:xfrm>
            <a:off x="0" y="0"/>
            <a:ext cx="10693130" cy="6858000"/>
          </a:xfrm>
          <a:custGeom>
            <a:avLst/>
            <a:gdLst>
              <a:gd name="connsiteX0" fmla="*/ 0 w 10693130"/>
              <a:gd name="connsiteY0" fmla="*/ 0 h 6858000"/>
              <a:gd name="connsiteX1" fmla="*/ 10693130 w 10693130"/>
              <a:gd name="connsiteY1" fmla="*/ 0 h 6858000"/>
              <a:gd name="connsiteX2" fmla="*/ 10693130 w 10693130"/>
              <a:gd name="connsiteY2" fmla="*/ 6858000 h 6858000"/>
              <a:gd name="connsiteX3" fmla="*/ 0 w 1069313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693130" h="6858000">
                <a:moveTo>
                  <a:pt x="0" y="0"/>
                </a:moveTo>
                <a:lnTo>
                  <a:pt x="10693130" y="0"/>
                </a:lnTo>
                <a:lnTo>
                  <a:pt x="10693130" y="6858000"/>
                </a:lnTo>
                <a:lnTo>
                  <a:pt x="0" y="6858000"/>
                </a:lnTo>
                <a:close/>
              </a:path>
            </a:pathLst>
          </a:custGeom>
        </p:spPr>
      </p:pic>
    </p:spTree>
    <p:extLst>
      <p:ext uri="{BB962C8B-B14F-4D97-AF65-F5344CB8AC3E}">
        <p14:creationId xmlns:p14="http://schemas.microsoft.com/office/powerpoint/2010/main" val="171514058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Additional">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11262480-6699-4851-937D-4BEF93115C7E}"/>
              </a:ext>
            </a:extLst>
          </p:cNvPr>
          <p:cNvSpPr>
            <a:spLocks noGrp="1"/>
          </p:cNvSpPr>
          <p:nvPr>
            <p:ph type="pic" sz="quarter" idx="18"/>
          </p:nvPr>
        </p:nvSpPr>
        <p:spPr>
          <a:xfrm>
            <a:off x="8112224" y="0"/>
            <a:ext cx="4079875" cy="6858000"/>
          </a:xfrm>
          <a:custGeom>
            <a:avLst/>
            <a:gdLst>
              <a:gd name="connsiteX0" fmla="*/ 3791913 w 4079875"/>
              <a:gd name="connsiteY0" fmla="*/ 374761 h 6858000"/>
              <a:gd name="connsiteX1" fmla="*/ 3738889 w 4079875"/>
              <a:gd name="connsiteY1" fmla="*/ 409256 h 6858000"/>
              <a:gd name="connsiteX2" fmla="*/ 3701629 w 4079875"/>
              <a:gd name="connsiteY2" fmla="*/ 476806 h 6858000"/>
              <a:gd name="connsiteX3" fmla="*/ 3660070 w 4079875"/>
              <a:gd name="connsiteY3" fmla="*/ 537171 h 6858000"/>
              <a:gd name="connsiteX4" fmla="*/ 3591283 w 4079875"/>
              <a:gd name="connsiteY4" fmla="*/ 580289 h 6858000"/>
              <a:gd name="connsiteX5" fmla="*/ 3635708 w 4079875"/>
              <a:gd name="connsiteY5" fmla="*/ 591787 h 6858000"/>
              <a:gd name="connsiteX6" fmla="*/ 3684432 w 4079875"/>
              <a:gd name="connsiteY6" fmla="*/ 587475 h 6858000"/>
              <a:gd name="connsiteX7" fmla="*/ 3767550 w 4079875"/>
              <a:gd name="connsiteY7" fmla="*/ 551544 h 6858000"/>
              <a:gd name="connsiteX8" fmla="*/ 3704495 w 4079875"/>
              <a:gd name="connsiteY8" fmla="*/ 494054 h 6858000"/>
              <a:gd name="connsiteX9" fmla="*/ 3791913 w 4079875"/>
              <a:gd name="connsiteY9" fmla="*/ 521361 h 6858000"/>
              <a:gd name="connsiteX10" fmla="*/ 3853535 w 4079875"/>
              <a:gd name="connsiteY10" fmla="*/ 460997 h 6858000"/>
              <a:gd name="connsiteX11" fmla="*/ 3852102 w 4079875"/>
              <a:gd name="connsiteY11" fmla="*/ 404944 h 6858000"/>
              <a:gd name="connsiteX12" fmla="*/ 3791913 w 4079875"/>
              <a:gd name="connsiteY12" fmla="*/ 374761 h 6858000"/>
              <a:gd name="connsiteX13" fmla="*/ 3667273 w 4079875"/>
              <a:gd name="connsiteY13" fmla="*/ 210928 h 6858000"/>
              <a:gd name="connsiteX14" fmla="*/ 3447523 w 4079875"/>
              <a:gd name="connsiteY14" fmla="*/ 439472 h 6858000"/>
              <a:gd name="connsiteX15" fmla="*/ 3523646 w 4079875"/>
              <a:gd name="connsiteY15" fmla="*/ 550151 h 6858000"/>
              <a:gd name="connsiteX16" fmla="*/ 3608386 w 4079875"/>
              <a:gd name="connsiteY16" fmla="*/ 545838 h 6858000"/>
              <a:gd name="connsiteX17" fmla="*/ 3668709 w 4079875"/>
              <a:gd name="connsiteY17" fmla="*/ 489780 h 6858000"/>
              <a:gd name="connsiteX18" fmla="*/ 3714670 w 4079875"/>
              <a:gd name="connsiteY18" fmla="*/ 413599 h 6858000"/>
              <a:gd name="connsiteX19" fmla="*/ 3776430 w 4079875"/>
              <a:gd name="connsiteY19" fmla="*/ 361853 h 6858000"/>
              <a:gd name="connsiteX20" fmla="*/ 3851116 w 4079875"/>
              <a:gd name="connsiteY20" fmla="*/ 380539 h 6858000"/>
              <a:gd name="connsiteX21" fmla="*/ 3787920 w 4079875"/>
              <a:gd name="connsiteY21" fmla="*/ 284235 h 6858000"/>
              <a:gd name="connsiteX22" fmla="*/ 3677327 w 4079875"/>
              <a:gd name="connsiteY22" fmla="*/ 215240 h 6858000"/>
              <a:gd name="connsiteX23" fmla="*/ 3667273 w 4079875"/>
              <a:gd name="connsiteY23" fmla="*/ 210928 h 6858000"/>
              <a:gd name="connsiteX24" fmla="*/ 0 w 4079875"/>
              <a:gd name="connsiteY24" fmla="*/ 0 h 6858000"/>
              <a:gd name="connsiteX25" fmla="*/ 4079875 w 4079875"/>
              <a:gd name="connsiteY25" fmla="*/ 0 h 6858000"/>
              <a:gd name="connsiteX26" fmla="*/ 4079875 w 4079875"/>
              <a:gd name="connsiteY26" fmla="*/ 6858000 h 6858000"/>
              <a:gd name="connsiteX27" fmla="*/ 0 w 4079875"/>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079875" h="6858000">
                <a:moveTo>
                  <a:pt x="3791913" y="374761"/>
                </a:moveTo>
                <a:cubicBezTo>
                  <a:pt x="3768984" y="376199"/>
                  <a:pt x="3751787" y="390571"/>
                  <a:pt x="3738889" y="409256"/>
                </a:cubicBezTo>
                <a:cubicBezTo>
                  <a:pt x="3723125" y="429377"/>
                  <a:pt x="3713094" y="453810"/>
                  <a:pt x="3701629" y="476806"/>
                </a:cubicBezTo>
                <a:cubicBezTo>
                  <a:pt x="3690165" y="498365"/>
                  <a:pt x="3677267" y="518487"/>
                  <a:pt x="3660070" y="537171"/>
                </a:cubicBezTo>
                <a:cubicBezTo>
                  <a:pt x="3641440" y="557293"/>
                  <a:pt x="3618511" y="573103"/>
                  <a:pt x="3591283" y="580289"/>
                </a:cubicBezTo>
                <a:cubicBezTo>
                  <a:pt x="3604181" y="588912"/>
                  <a:pt x="3621377" y="591787"/>
                  <a:pt x="3635708" y="591787"/>
                </a:cubicBezTo>
                <a:cubicBezTo>
                  <a:pt x="3651472" y="593224"/>
                  <a:pt x="3668669" y="590350"/>
                  <a:pt x="3684432" y="587475"/>
                </a:cubicBezTo>
                <a:cubicBezTo>
                  <a:pt x="3714527" y="583163"/>
                  <a:pt x="3746054" y="573103"/>
                  <a:pt x="3767550" y="551544"/>
                </a:cubicBezTo>
                <a:cubicBezTo>
                  <a:pt x="3733157" y="551544"/>
                  <a:pt x="3705929" y="528548"/>
                  <a:pt x="3704495" y="494054"/>
                </a:cubicBezTo>
                <a:cubicBezTo>
                  <a:pt x="3725992" y="519924"/>
                  <a:pt x="3758952" y="529985"/>
                  <a:pt x="3791913" y="521361"/>
                </a:cubicBezTo>
                <a:cubicBezTo>
                  <a:pt x="3820574" y="512738"/>
                  <a:pt x="3844936" y="489742"/>
                  <a:pt x="3853535" y="460997"/>
                </a:cubicBezTo>
                <a:cubicBezTo>
                  <a:pt x="3859267" y="442312"/>
                  <a:pt x="3860700" y="423628"/>
                  <a:pt x="3852102" y="404944"/>
                </a:cubicBezTo>
                <a:cubicBezTo>
                  <a:pt x="3840637" y="383385"/>
                  <a:pt x="3816275" y="373324"/>
                  <a:pt x="3791913" y="374761"/>
                </a:cubicBezTo>
                <a:close/>
                <a:moveTo>
                  <a:pt x="3667273" y="210928"/>
                </a:moveTo>
                <a:cubicBezTo>
                  <a:pt x="3618440" y="271298"/>
                  <a:pt x="3447523" y="314420"/>
                  <a:pt x="3447523" y="439472"/>
                </a:cubicBezTo>
                <a:cubicBezTo>
                  <a:pt x="3447523" y="486906"/>
                  <a:pt x="3477685" y="532902"/>
                  <a:pt x="3523646" y="550151"/>
                </a:cubicBezTo>
                <a:cubicBezTo>
                  <a:pt x="3550935" y="560212"/>
                  <a:pt x="3581096" y="558775"/>
                  <a:pt x="3608386" y="545838"/>
                </a:cubicBezTo>
                <a:cubicBezTo>
                  <a:pt x="3634239" y="534339"/>
                  <a:pt x="3652910" y="514216"/>
                  <a:pt x="3668709" y="489780"/>
                </a:cubicBezTo>
                <a:cubicBezTo>
                  <a:pt x="3685944" y="465345"/>
                  <a:pt x="3698871" y="439472"/>
                  <a:pt x="3714670" y="413599"/>
                </a:cubicBezTo>
                <a:cubicBezTo>
                  <a:pt x="3729033" y="390601"/>
                  <a:pt x="3749141" y="367603"/>
                  <a:pt x="3776430" y="361853"/>
                </a:cubicBezTo>
                <a:cubicBezTo>
                  <a:pt x="3802283" y="354666"/>
                  <a:pt x="3832444" y="361853"/>
                  <a:pt x="3851116" y="380539"/>
                </a:cubicBezTo>
                <a:cubicBezTo>
                  <a:pt x="3839626" y="343167"/>
                  <a:pt x="3818082" y="311545"/>
                  <a:pt x="3787920" y="284235"/>
                </a:cubicBezTo>
                <a:cubicBezTo>
                  <a:pt x="3754886" y="254050"/>
                  <a:pt x="3717543" y="232489"/>
                  <a:pt x="3677327" y="215240"/>
                </a:cubicBezTo>
                <a:cubicBezTo>
                  <a:pt x="3674454" y="213803"/>
                  <a:pt x="3670145" y="212366"/>
                  <a:pt x="3667273" y="210928"/>
                </a:cubicBezTo>
                <a:close/>
                <a:moveTo>
                  <a:pt x="0" y="0"/>
                </a:moveTo>
                <a:lnTo>
                  <a:pt x="4079875" y="0"/>
                </a:lnTo>
                <a:lnTo>
                  <a:pt x="4079875" y="6858000"/>
                </a:lnTo>
                <a:lnTo>
                  <a:pt x="0" y="6858000"/>
                </a:lnTo>
                <a:close/>
              </a:path>
            </a:pathLst>
          </a:custGeom>
          <a:solidFill>
            <a:schemeClr val="bg2"/>
          </a:solidFill>
        </p:spPr>
      </p:sp>
      <p:sp>
        <p:nvSpPr>
          <p:cNvPr id="4" name="Content Placeholder"/>
          <p:cNvSpPr>
            <a:spLocks noGrp="1"/>
          </p:cNvSpPr>
          <p:nvPr>
            <p:ph type="body" sz="quarter" idx="10"/>
          </p:nvPr>
        </p:nvSpPr>
        <p:spPr>
          <a:xfrm>
            <a:off x="406401" y="1899138"/>
            <a:ext cx="7525822"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Placeholder"/>
          <p:cNvSpPr>
            <a:spLocks noGrp="1"/>
          </p:cNvSpPr>
          <p:nvPr>
            <p:ph type="body" sz="quarter" idx="11" hasCustomPrompt="1"/>
          </p:nvPr>
        </p:nvSpPr>
        <p:spPr>
          <a:xfrm>
            <a:off x="406400" y="1327150"/>
            <a:ext cx="7525822" cy="457688"/>
          </a:xfrm>
          <a:prstGeom prst="rect">
            <a:avLst/>
          </a:prstGeom>
        </p:spPr>
        <p:txBody>
          <a:bodyPr>
            <a:noAutofit/>
          </a:bodyPr>
          <a:lstStyle>
            <a:lvl1pPr>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1" y="388188"/>
            <a:ext cx="7525822" cy="716711"/>
          </a:xfrm>
          <a:prstGeom prst="rect">
            <a:avLst/>
          </a:prstGeom>
        </p:spPr>
        <p:txBody>
          <a:bodyPr/>
          <a:lstStyle>
            <a:lvl1pPr>
              <a:defRPr>
                <a:latin typeface="+mj-lt"/>
              </a:defRPr>
            </a:lvl1pPr>
          </a:lstStyle>
          <a:p>
            <a:r>
              <a:rPr lang="fr-FR"/>
              <a:t>CLICK TO INSERT TITLE</a:t>
            </a:r>
            <a:endParaRPr lang="de-DE"/>
          </a:p>
        </p:txBody>
      </p:sp>
    </p:spTree>
    <p:extLst>
      <p:ext uri="{BB962C8B-B14F-4D97-AF65-F5344CB8AC3E}">
        <p14:creationId xmlns:p14="http://schemas.microsoft.com/office/powerpoint/2010/main" val="6657527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Additional">
    <p:spTree>
      <p:nvGrpSpPr>
        <p:cNvPr id="1" name=""/>
        <p:cNvGrpSpPr/>
        <p:nvPr/>
      </p:nvGrpSpPr>
      <p:grpSpPr>
        <a:xfrm>
          <a:off x="0" y="0"/>
          <a:ext cx="0" cy="0"/>
          <a:chOff x="0" y="0"/>
          <a:chExt cx="0" cy="0"/>
        </a:xfrm>
      </p:grpSpPr>
      <p:sp>
        <p:nvSpPr>
          <p:cNvPr id="4" name="Content Placeholder"/>
          <p:cNvSpPr>
            <a:spLocks noGrp="1"/>
          </p:cNvSpPr>
          <p:nvPr>
            <p:ph type="body" sz="quarter" idx="10"/>
          </p:nvPr>
        </p:nvSpPr>
        <p:spPr>
          <a:xfrm>
            <a:off x="406401" y="1899138"/>
            <a:ext cx="5599112"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Placeholder"/>
          <p:cNvSpPr>
            <a:spLocks noGrp="1"/>
          </p:cNvSpPr>
          <p:nvPr>
            <p:ph type="body" sz="quarter" idx="11" hasCustomPrompt="1"/>
          </p:nvPr>
        </p:nvSpPr>
        <p:spPr>
          <a:xfrm>
            <a:off x="406400" y="1327150"/>
            <a:ext cx="5599113" cy="457688"/>
          </a:xfrm>
          <a:prstGeom prst="rect">
            <a:avLst/>
          </a:prstGeom>
        </p:spPr>
        <p:txBody>
          <a:bodyPr>
            <a:noAutofit/>
          </a:bodyPr>
          <a:lstStyle>
            <a:lvl1pPr>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1" y="388188"/>
            <a:ext cx="5599112" cy="716711"/>
          </a:xfrm>
          <a:prstGeom prst="rect">
            <a:avLst/>
          </a:prstGeom>
        </p:spPr>
        <p:txBody>
          <a:bodyPr/>
          <a:lstStyle>
            <a:lvl1pPr>
              <a:defRPr>
                <a:latin typeface="+mj-lt"/>
              </a:defRPr>
            </a:lvl1pPr>
          </a:lstStyle>
          <a:p>
            <a:r>
              <a:rPr lang="fr-FR"/>
              <a:t>CLICK TO INSERT TITLE</a:t>
            </a:r>
            <a:endParaRPr lang="de-DE"/>
          </a:p>
        </p:txBody>
      </p:sp>
      <p:sp>
        <p:nvSpPr>
          <p:cNvPr id="9" name="Picture Placeholder 8">
            <a:extLst>
              <a:ext uri="{FF2B5EF4-FFF2-40B4-BE49-F238E27FC236}">
                <a16:creationId xmlns:a16="http://schemas.microsoft.com/office/drawing/2014/main" id="{A9AD5483-1A47-46C0-8A51-428C825E775B}"/>
              </a:ext>
            </a:extLst>
          </p:cNvPr>
          <p:cNvSpPr>
            <a:spLocks noGrp="1"/>
          </p:cNvSpPr>
          <p:nvPr>
            <p:ph type="pic" sz="quarter" idx="18"/>
          </p:nvPr>
        </p:nvSpPr>
        <p:spPr>
          <a:xfrm>
            <a:off x="6096000" y="0"/>
            <a:ext cx="6096000" cy="6858000"/>
          </a:xfrm>
          <a:custGeom>
            <a:avLst/>
            <a:gdLst>
              <a:gd name="connsiteX0" fmla="*/ 5808137 w 6096000"/>
              <a:gd name="connsiteY0" fmla="*/ 374761 h 6858000"/>
              <a:gd name="connsiteX1" fmla="*/ 5755113 w 6096000"/>
              <a:gd name="connsiteY1" fmla="*/ 409256 h 6858000"/>
              <a:gd name="connsiteX2" fmla="*/ 5717853 w 6096000"/>
              <a:gd name="connsiteY2" fmla="*/ 476806 h 6858000"/>
              <a:gd name="connsiteX3" fmla="*/ 5676294 w 6096000"/>
              <a:gd name="connsiteY3" fmla="*/ 537171 h 6858000"/>
              <a:gd name="connsiteX4" fmla="*/ 5607507 w 6096000"/>
              <a:gd name="connsiteY4" fmla="*/ 580289 h 6858000"/>
              <a:gd name="connsiteX5" fmla="*/ 5651932 w 6096000"/>
              <a:gd name="connsiteY5" fmla="*/ 591787 h 6858000"/>
              <a:gd name="connsiteX6" fmla="*/ 5700656 w 6096000"/>
              <a:gd name="connsiteY6" fmla="*/ 587475 h 6858000"/>
              <a:gd name="connsiteX7" fmla="*/ 5783774 w 6096000"/>
              <a:gd name="connsiteY7" fmla="*/ 551544 h 6858000"/>
              <a:gd name="connsiteX8" fmla="*/ 5720719 w 6096000"/>
              <a:gd name="connsiteY8" fmla="*/ 494054 h 6858000"/>
              <a:gd name="connsiteX9" fmla="*/ 5808137 w 6096000"/>
              <a:gd name="connsiteY9" fmla="*/ 521361 h 6858000"/>
              <a:gd name="connsiteX10" fmla="*/ 5869759 w 6096000"/>
              <a:gd name="connsiteY10" fmla="*/ 460997 h 6858000"/>
              <a:gd name="connsiteX11" fmla="*/ 5868326 w 6096000"/>
              <a:gd name="connsiteY11" fmla="*/ 404944 h 6858000"/>
              <a:gd name="connsiteX12" fmla="*/ 5808137 w 6096000"/>
              <a:gd name="connsiteY12" fmla="*/ 374761 h 6858000"/>
              <a:gd name="connsiteX13" fmla="*/ 5683497 w 6096000"/>
              <a:gd name="connsiteY13" fmla="*/ 210928 h 6858000"/>
              <a:gd name="connsiteX14" fmla="*/ 5463747 w 6096000"/>
              <a:gd name="connsiteY14" fmla="*/ 439472 h 6858000"/>
              <a:gd name="connsiteX15" fmla="*/ 5539870 w 6096000"/>
              <a:gd name="connsiteY15" fmla="*/ 550151 h 6858000"/>
              <a:gd name="connsiteX16" fmla="*/ 5624610 w 6096000"/>
              <a:gd name="connsiteY16" fmla="*/ 545838 h 6858000"/>
              <a:gd name="connsiteX17" fmla="*/ 5684933 w 6096000"/>
              <a:gd name="connsiteY17" fmla="*/ 489780 h 6858000"/>
              <a:gd name="connsiteX18" fmla="*/ 5730894 w 6096000"/>
              <a:gd name="connsiteY18" fmla="*/ 413599 h 6858000"/>
              <a:gd name="connsiteX19" fmla="*/ 5792654 w 6096000"/>
              <a:gd name="connsiteY19" fmla="*/ 361853 h 6858000"/>
              <a:gd name="connsiteX20" fmla="*/ 5867340 w 6096000"/>
              <a:gd name="connsiteY20" fmla="*/ 380539 h 6858000"/>
              <a:gd name="connsiteX21" fmla="*/ 5804144 w 6096000"/>
              <a:gd name="connsiteY21" fmla="*/ 284235 h 6858000"/>
              <a:gd name="connsiteX22" fmla="*/ 5693551 w 6096000"/>
              <a:gd name="connsiteY22" fmla="*/ 215240 h 6858000"/>
              <a:gd name="connsiteX23" fmla="*/ 5683497 w 6096000"/>
              <a:gd name="connsiteY23" fmla="*/ 210928 h 6858000"/>
              <a:gd name="connsiteX24" fmla="*/ 0 w 6096000"/>
              <a:gd name="connsiteY24" fmla="*/ 0 h 6858000"/>
              <a:gd name="connsiteX25" fmla="*/ 6096000 w 6096000"/>
              <a:gd name="connsiteY25" fmla="*/ 0 h 6858000"/>
              <a:gd name="connsiteX26" fmla="*/ 6096000 w 6096000"/>
              <a:gd name="connsiteY26" fmla="*/ 6858000 h 6858000"/>
              <a:gd name="connsiteX27" fmla="*/ 0 w 6096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96000" h="6858000">
                <a:moveTo>
                  <a:pt x="5808137" y="374761"/>
                </a:moveTo>
                <a:cubicBezTo>
                  <a:pt x="5785208" y="376199"/>
                  <a:pt x="5768011" y="390571"/>
                  <a:pt x="5755113" y="409256"/>
                </a:cubicBezTo>
                <a:cubicBezTo>
                  <a:pt x="5739349" y="429377"/>
                  <a:pt x="5729318" y="453810"/>
                  <a:pt x="5717853" y="476806"/>
                </a:cubicBezTo>
                <a:cubicBezTo>
                  <a:pt x="5706389" y="498365"/>
                  <a:pt x="5693491" y="518487"/>
                  <a:pt x="5676294" y="537171"/>
                </a:cubicBezTo>
                <a:cubicBezTo>
                  <a:pt x="5657664" y="557293"/>
                  <a:pt x="5634735" y="573103"/>
                  <a:pt x="5607507" y="580289"/>
                </a:cubicBezTo>
                <a:cubicBezTo>
                  <a:pt x="5620405" y="588912"/>
                  <a:pt x="5637601" y="591787"/>
                  <a:pt x="5651932" y="591787"/>
                </a:cubicBezTo>
                <a:cubicBezTo>
                  <a:pt x="5667696" y="593224"/>
                  <a:pt x="5684893" y="590350"/>
                  <a:pt x="5700656" y="587475"/>
                </a:cubicBezTo>
                <a:cubicBezTo>
                  <a:pt x="5730751" y="583163"/>
                  <a:pt x="5762278" y="573103"/>
                  <a:pt x="5783774" y="551544"/>
                </a:cubicBezTo>
                <a:cubicBezTo>
                  <a:pt x="5749381" y="551544"/>
                  <a:pt x="5722153" y="528548"/>
                  <a:pt x="5720719" y="494054"/>
                </a:cubicBezTo>
                <a:cubicBezTo>
                  <a:pt x="5742216" y="519924"/>
                  <a:pt x="5775176" y="529985"/>
                  <a:pt x="5808137" y="521361"/>
                </a:cubicBezTo>
                <a:cubicBezTo>
                  <a:pt x="5836798" y="512738"/>
                  <a:pt x="5861160" y="489742"/>
                  <a:pt x="5869759" y="460997"/>
                </a:cubicBezTo>
                <a:cubicBezTo>
                  <a:pt x="5875491" y="442312"/>
                  <a:pt x="5876924" y="423628"/>
                  <a:pt x="5868326" y="404944"/>
                </a:cubicBezTo>
                <a:cubicBezTo>
                  <a:pt x="5856861" y="383385"/>
                  <a:pt x="5832499" y="373324"/>
                  <a:pt x="5808137" y="374761"/>
                </a:cubicBezTo>
                <a:close/>
                <a:moveTo>
                  <a:pt x="5683497" y="210928"/>
                </a:moveTo>
                <a:cubicBezTo>
                  <a:pt x="5634664" y="271298"/>
                  <a:pt x="5463747" y="314420"/>
                  <a:pt x="5463747" y="439472"/>
                </a:cubicBezTo>
                <a:cubicBezTo>
                  <a:pt x="5463747" y="486906"/>
                  <a:pt x="5493909" y="532902"/>
                  <a:pt x="5539870" y="550151"/>
                </a:cubicBezTo>
                <a:cubicBezTo>
                  <a:pt x="5567159" y="560212"/>
                  <a:pt x="5597320" y="558775"/>
                  <a:pt x="5624610" y="545838"/>
                </a:cubicBezTo>
                <a:cubicBezTo>
                  <a:pt x="5650463" y="534339"/>
                  <a:pt x="5669134" y="514216"/>
                  <a:pt x="5684933" y="489780"/>
                </a:cubicBezTo>
                <a:cubicBezTo>
                  <a:pt x="5702168" y="465345"/>
                  <a:pt x="5715095" y="439472"/>
                  <a:pt x="5730894" y="413599"/>
                </a:cubicBezTo>
                <a:cubicBezTo>
                  <a:pt x="5745257" y="390601"/>
                  <a:pt x="5765365" y="367603"/>
                  <a:pt x="5792654" y="361853"/>
                </a:cubicBezTo>
                <a:cubicBezTo>
                  <a:pt x="5818507" y="354666"/>
                  <a:pt x="5848668" y="361853"/>
                  <a:pt x="5867340" y="380539"/>
                </a:cubicBezTo>
                <a:cubicBezTo>
                  <a:pt x="5855850" y="343167"/>
                  <a:pt x="5834306" y="311545"/>
                  <a:pt x="5804144" y="284235"/>
                </a:cubicBezTo>
                <a:cubicBezTo>
                  <a:pt x="5771110" y="254050"/>
                  <a:pt x="5733767" y="232489"/>
                  <a:pt x="5693551" y="215240"/>
                </a:cubicBezTo>
                <a:cubicBezTo>
                  <a:pt x="5690678" y="213803"/>
                  <a:pt x="5686369" y="212366"/>
                  <a:pt x="5683497" y="210928"/>
                </a:cubicBezTo>
                <a:close/>
                <a:moveTo>
                  <a:pt x="0" y="0"/>
                </a:moveTo>
                <a:lnTo>
                  <a:pt x="6096000" y="0"/>
                </a:lnTo>
                <a:lnTo>
                  <a:pt x="6096000" y="6858000"/>
                </a:lnTo>
                <a:lnTo>
                  <a:pt x="0" y="6858000"/>
                </a:lnTo>
                <a:close/>
              </a:path>
            </a:pathLst>
          </a:custGeom>
          <a:solidFill>
            <a:schemeClr val="bg2"/>
          </a:solidFill>
        </p:spPr>
      </p:sp>
    </p:spTree>
    <p:extLst>
      <p:ext uri="{BB962C8B-B14F-4D97-AF65-F5344CB8AC3E}">
        <p14:creationId xmlns:p14="http://schemas.microsoft.com/office/powerpoint/2010/main" val="68413891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Additional">
    <p:spTree>
      <p:nvGrpSpPr>
        <p:cNvPr id="1" name=""/>
        <p:cNvGrpSpPr/>
        <p:nvPr/>
      </p:nvGrpSpPr>
      <p:grpSpPr>
        <a:xfrm>
          <a:off x="0" y="0"/>
          <a:ext cx="0" cy="0"/>
          <a:chOff x="0" y="0"/>
          <a:chExt cx="0" cy="0"/>
        </a:xfrm>
      </p:grpSpPr>
      <p:sp>
        <p:nvSpPr>
          <p:cNvPr id="4" name="Content Placeholder"/>
          <p:cNvSpPr>
            <a:spLocks noGrp="1"/>
          </p:cNvSpPr>
          <p:nvPr>
            <p:ph type="body" sz="quarter" idx="10"/>
          </p:nvPr>
        </p:nvSpPr>
        <p:spPr>
          <a:xfrm>
            <a:off x="4253525" y="1899138"/>
            <a:ext cx="7530488"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Placeholder"/>
          <p:cNvSpPr>
            <a:spLocks noGrp="1"/>
          </p:cNvSpPr>
          <p:nvPr>
            <p:ph type="body" sz="quarter" idx="11" hasCustomPrompt="1"/>
          </p:nvPr>
        </p:nvSpPr>
        <p:spPr>
          <a:xfrm>
            <a:off x="4253524" y="1327150"/>
            <a:ext cx="7530489" cy="457688"/>
          </a:xfrm>
          <a:prstGeom prst="rect">
            <a:avLst/>
          </a:prstGeom>
        </p:spPr>
        <p:txBody>
          <a:bodyPr>
            <a:noAutofit/>
          </a:bodyPr>
          <a:lstStyle>
            <a:lvl1pPr>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253525" y="388188"/>
            <a:ext cx="7530488" cy="716711"/>
          </a:xfrm>
          <a:prstGeom prst="rect">
            <a:avLst/>
          </a:prstGeom>
        </p:spPr>
        <p:txBody>
          <a:bodyPr/>
          <a:lstStyle>
            <a:lvl1pPr>
              <a:defRPr>
                <a:latin typeface="+mj-lt"/>
              </a:defRPr>
            </a:lvl1pPr>
          </a:lstStyle>
          <a:p>
            <a:r>
              <a:rPr lang="fr-FR"/>
              <a:t>CLICK TO INSERT TITLE</a:t>
            </a:r>
            <a:endParaRPr lang="de-DE"/>
          </a:p>
        </p:txBody>
      </p:sp>
      <p:sp>
        <p:nvSpPr>
          <p:cNvPr id="6" name="Picture Placeholder 5">
            <a:extLst>
              <a:ext uri="{FF2B5EF4-FFF2-40B4-BE49-F238E27FC236}">
                <a16:creationId xmlns:a16="http://schemas.microsoft.com/office/drawing/2014/main" id="{7D44705D-3468-4B9A-B46C-0CC97BB62AB2}"/>
              </a:ext>
            </a:extLst>
          </p:cNvPr>
          <p:cNvSpPr>
            <a:spLocks noGrp="1"/>
          </p:cNvSpPr>
          <p:nvPr>
            <p:ph type="pic" sz="quarter" idx="19"/>
          </p:nvPr>
        </p:nvSpPr>
        <p:spPr>
          <a:xfrm>
            <a:off x="0" y="0"/>
            <a:ext cx="4073525" cy="6858000"/>
          </a:xfrm>
          <a:solidFill>
            <a:schemeClr val="bg2"/>
          </a:solidFill>
        </p:spPr>
      </p:sp>
    </p:spTree>
    <p:extLst>
      <p:ext uri="{BB962C8B-B14F-4D97-AF65-F5344CB8AC3E}">
        <p14:creationId xmlns:p14="http://schemas.microsoft.com/office/powerpoint/2010/main" val="40100455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Additional">
    <p:spTree>
      <p:nvGrpSpPr>
        <p:cNvPr id="1" name=""/>
        <p:cNvGrpSpPr/>
        <p:nvPr/>
      </p:nvGrpSpPr>
      <p:grpSpPr>
        <a:xfrm>
          <a:off x="0" y="0"/>
          <a:ext cx="0" cy="0"/>
          <a:chOff x="0" y="0"/>
          <a:chExt cx="0" cy="0"/>
        </a:xfrm>
      </p:grpSpPr>
      <p:sp>
        <p:nvSpPr>
          <p:cNvPr id="4" name="Content Placeholder"/>
          <p:cNvSpPr>
            <a:spLocks noGrp="1"/>
          </p:cNvSpPr>
          <p:nvPr>
            <p:ph type="body" sz="quarter" idx="10"/>
          </p:nvPr>
        </p:nvSpPr>
        <p:spPr>
          <a:xfrm>
            <a:off x="6186487" y="1899138"/>
            <a:ext cx="5597525"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Placeholder"/>
          <p:cNvSpPr>
            <a:spLocks noGrp="1"/>
          </p:cNvSpPr>
          <p:nvPr>
            <p:ph type="body" sz="quarter" idx="11" hasCustomPrompt="1"/>
          </p:nvPr>
        </p:nvSpPr>
        <p:spPr>
          <a:xfrm>
            <a:off x="6186487" y="1327150"/>
            <a:ext cx="5597526" cy="457688"/>
          </a:xfrm>
          <a:prstGeom prst="rect">
            <a:avLst/>
          </a:prstGeom>
        </p:spPr>
        <p:txBody>
          <a:bodyPr>
            <a:noAutofit/>
          </a:bodyPr>
          <a:lstStyle>
            <a:lvl1pPr>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6186487" y="388188"/>
            <a:ext cx="5597525" cy="716711"/>
          </a:xfrm>
          <a:prstGeom prst="rect">
            <a:avLst/>
          </a:prstGeom>
        </p:spPr>
        <p:txBody>
          <a:bodyPr/>
          <a:lstStyle>
            <a:lvl1pPr>
              <a:defRPr>
                <a:latin typeface="+mj-lt"/>
              </a:defRPr>
            </a:lvl1pPr>
          </a:lstStyle>
          <a:p>
            <a:r>
              <a:rPr lang="fr-FR"/>
              <a:t>CLICK TO INSERT TITLE</a:t>
            </a:r>
            <a:endParaRPr lang="de-DE"/>
          </a:p>
        </p:txBody>
      </p:sp>
      <p:sp>
        <p:nvSpPr>
          <p:cNvPr id="6" name="Picture Placeholder 5">
            <a:extLst>
              <a:ext uri="{FF2B5EF4-FFF2-40B4-BE49-F238E27FC236}">
                <a16:creationId xmlns:a16="http://schemas.microsoft.com/office/drawing/2014/main" id="{7D44705D-3468-4B9A-B46C-0CC97BB62AB2}"/>
              </a:ext>
            </a:extLst>
          </p:cNvPr>
          <p:cNvSpPr>
            <a:spLocks noGrp="1"/>
          </p:cNvSpPr>
          <p:nvPr>
            <p:ph type="pic" sz="quarter" idx="19"/>
          </p:nvPr>
        </p:nvSpPr>
        <p:spPr>
          <a:xfrm>
            <a:off x="0" y="0"/>
            <a:ext cx="6005513" cy="6858000"/>
          </a:xfrm>
          <a:solidFill>
            <a:schemeClr val="bg2"/>
          </a:solidFill>
        </p:spPr>
      </p:sp>
    </p:spTree>
    <p:extLst>
      <p:ext uri="{BB962C8B-B14F-4D97-AF65-F5344CB8AC3E}">
        <p14:creationId xmlns:p14="http://schemas.microsoft.com/office/powerpoint/2010/main" val="86199036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Content dark grey">
    <p:bg>
      <p:bgPr>
        <a:solidFill>
          <a:schemeClr val="accent4"/>
        </a:solidFill>
        <a:effectLst/>
      </p:bgPr>
    </p:bg>
    <p:spTree>
      <p:nvGrpSpPr>
        <p:cNvPr id="1" name=""/>
        <p:cNvGrpSpPr/>
        <p:nvPr/>
      </p:nvGrpSpPr>
      <p:grpSpPr>
        <a:xfrm>
          <a:off x="0" y="0"/>
          <a:ext cx="0" cy="0"/>
          <a:chOff x="0" y="0"/>
          <a:chExt cx="0" cy="0"/>
        </a:xfrm>
      </p:grpSpPr>
      <p:sp>
        <p:nvSpPr>
          <p:cNvPr id="11" name="Title Placeholder">
            <a:extLst>
              <a:ext uri="{FF2B5EF4-FFF2-40B4-BE49-F238E27FC236}">
                <a16:creationId xmlns:a16="http://schemas.microsoft.com/office/drawing/2014/main" id="{006B5C2B-B0BF-4136-9EC7-0E7F54D1D264}"/>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bg1"/>
                </a:solidFill>
              </a:defRPr>
            </a:lvl1pPr>
          </a:lstStyle>
          <a:p>
            <a:r>
              <a:rPr lang="fr-FR"/>
              <a:t>CLICK TO INSERT TITLE</a:t>
            </a:r>
            <a:endParaRPr lang="en-GB"/>
          </a:p>
        </p:txBody>
      </p:sp>
      <p:sp>
        <p:nvSpPr>
          <p:cNvPr id="5" name="Content Placeholder">
            <a:extLst>
              <a:ext uri="{FF2B5EF4-FFF2-40B4-BE49-F238E27FC236}">
                <a16:creationId xmlns:a16="http://schemas.microsoft.com/office/drawing/2014/main" id="{BCFEC8C0-8322-4141-827E-9859F309C31A}"/>
              </a:ext>
            </a:extLst>
          </p:cNvPr>
          <p:cNvSpPr>
            <a:spLocks noGrp="1"/>
          </p:cNvSpPr>
          <p:nvPr>
            <p:ph idx="1"/>
          </p:nvPr>
        </p:nvSpPr>
        <p:spPr>
          <a:xfrm>
            <a:off x="404813" y="1329743"/>
            <a:ext cx="11379600" cy="5134557"/>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accent2"/>
              </a:buClr>
              <a:defRPr>
                <a:solidFill>
                  <a:schemeClr val="bg1"/>
                </a:solidFill>
              </a:defRPr>
            </a:lvl4pPr>
            <a:lvl5pPr>
              <a:buClr>
                <a:schemeClr val="accent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9502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166484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Subtitle Content dark grey">
    <p:bg>
      <p:bgPr>
        <a:solidFill>
          <a:schemeClr val="accent4"/>
        </a:solidFill>
        <a:effectLst/>
      </p:bgPr>
    </p:bg>
    <p:spTree>
      <p:nvGrpSpPr>
        <p:cNvPr id="1" name=""/>
        <p:cNvGrpSpPr/>
        <p:nvPr/>
      </p:nvGrpSpPr>
      <p:grpSpPr>
        <a:xfrm>
          <a:off x="0" y="0"/>
          <a:ext cx="0" cy="0"/>
          <a:chOff x="0" y="0"/>
          <a:chExt cx="0" cy="0"/>
        </a:xfrm>
      </p:grpSpPr>
      <p:sp>
        <p:nvSpPr>
          <p:cNvPr id="4" name="Content Placeholder"/>
          <p:cNvSpPr>
            <a:spLocks noGrp="1"/>
          </p:cNvSpPr>
          <p:nvPr>
            <p:ph type="body" sz="quarter" idx="10"/>
          </p:nvPr>
        </p:nvSpPr>
        <p:spPr>
          <a:xfrm>
            <a:off x="406400" y="1899138"/>
            <a:ext cx="11379201" cy="4570674"/>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2"/>
              </a:buClr>
              <a:defRPr>
                <a:solidFill>
                  <a:schemeClr val="bg1"/>
                </a:solidFill>
              </a:defRPr>
            </a:lvl4pPr>
            <a:lvl5pPr>
              <a:buClr>
                <a:schemeClr val="accent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bg1"/>
                </a:solidFill>
                <a:latin typeface="+mj-lt"/>
              </a:defRPr>
            </a:lvl1pPr>
          </a:lstStyle>
          <a:p>
            <a:r>
              <a:rPr lang="fr-FR"/>
              <a:t>CLICK TO INSERT TITLE</a:t>
            </a:r>
            <a:endParaRPr lang="de-DE"/>
          </a:p>
        </p:txBody>
      </p:sp>
    </p:spTree>
    <p:extLst>
      <p:ext uri="{BB962C8B-B14F-4D97-AF65-F5344CB8AC3E}">
        <p14:creationId xmlns:p14="http://schemas.microsoft.com/office/powerpoint/2010/main" val="5942724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29647630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2771406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4096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22059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8833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10476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5830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67368419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1524436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84822744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621997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81076876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357974602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36838352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55689431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9215400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0390652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4037283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50813516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2161672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9766243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7124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210198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579058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951286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258248708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935818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20252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41587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41731412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12621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265791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6071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16366696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604872160"/>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24404352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473703667"/>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408587051"/>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14434454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44654433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972965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742914311"/>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53820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1808269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0599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507562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8011269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5334670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9318988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17383487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4835796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203265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14642286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2617944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31221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74660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44183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582287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1707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38010088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16983462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30155184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7570128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298174295"/>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3585272078"/>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53181952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411084062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571156644"/>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2609210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5747759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7666082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6045219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395648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353517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801435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6598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23806674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8770944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2435348823"/>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905141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822160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10265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9704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7645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0148368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98637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10195175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89336746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8157785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996930263"/>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1377579846"/>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accent4"/>
        </a:solidFill>
        <a:effectLst/>
      </p:bgPr>
    </p:bg>
    <p:spTree>
      <p:nvGrpSpPr>
        <p:cNvPr id="1" name=""/>
        <p:cNvGrpSpPr/>
        <p:nvPr/>
      </p:nvGrpSpPr>
      <p:grpSpPr>
        <a:xfrm>
          <a:off x="0" y="0"/>
          <a:ext cx="0" cy="0"/>
          <a:chOff x="0" y="0"/>
          <a:chExt cx="0" cy="0"/>
        </a:xfrm>
      </p:grpSpPr>
      <p:pic>
        <p:nvPicPr>
          <p:cNvPr id="12" name="Image 22">
            <a:extLst>
              <a:ext uri="{FF2B5EF4-FFF2-40B4-BE49-F238E27FC236}">
                <a16:creationId xmlns:a16="http://schemas.microsoft.com/office/drawing/2014/main" id="{7C0905D0-14C8-4DE7-8963-8A686B75F6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406" b="10497"/>
          <a:stretch/>
        </p:blipFill>
        <p:spPr>
          <a:xfrm>
            <a:off x="242887" y="390525"/>
            <a:ext cx="10677649" cy="6072188"/>
          </a:xfrm>
          <a:prstGeom prst="rect">
            <a:avLst/>
          </a:prstGeom>
        </p:spPr>
      </p:pic>
      <p:pic>
        <p:nvPicPr>
          <p:cNvPr id="20" name="SEC3" hidden="1">
            <a:extLst>
              <a:ext uri="{FF2B5EF4-FFF2-40B4-BE49-F238E27FC236}">
                <a16:creationId xmlns:a16="http://schemas.microsoft.com/office/drawing/2014/main" id="{2B730AAE-5893-48BB-B68B-34FC031EF02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57663" y="5742781"/>
            <a:ext cx="720000" cy="720000"/>
          </a:xfrm>
          <a:prstGeom prst="rect">
            <a:avLst/>
          </a:prstGeom>
        </p:spPr>
      </p:pic>
      <p:pic>
        <p:nvPicPr>
          <p:cNvPr id="15" name="SEC2" hidden="1">
            <a:extLst>
              <a:ext uri="{FF2B5EF4-FFF2-40B4-BE49-F238E27FC236}">
                <a16:creationId xmlns:a16="http://schemas.microsoft.com/office/drawing/2014/main" id="{1EFAA2F6-38D2-4DA5-B757-007B418BA51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057663" y="5742781"/>
            <a:ext cx="720000" cy="720000"/>
          </a:xfrm>
          <a:prstGeom prst="rect">
            <a:avLst/>
          </a:prstGeom>
        </p:spPr>
      </p:pic>
      <p:pic>
        <p:nvPicPr>
          <p:cNvPr id="13" name="SEC1" hidden="1">
            <a:extLst>
              <a:ext uri="{FF2B5EF4-FFF2-40B4-BE49-F238E27FC236}">
                <a16:creationId xmlns:a16="http://schemas.microsoft.com/office/drawing/2014/main" id="{2BB50522-C3AF-4500-A5EF-0EE9E3448B2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058037" y="5742781"/>
            <a:ext cx="719250" cy="720000"/>
          </a:xfrm>
          <a:prstGeom prst="rect">
            <a:avLst/>
          </a:prstGeom>
        </p:spPr>
      </p:pic>
      <p:pic>
        <p:nvPicPr>
          <p:cNvPr id="16" name="SEC0" hidden="1">
            <a:extLst>
              <a:ext uri="{FF2B5EF4-FFF2-40B4-BE49-F238E27FC236}">
                <a16:creationId xmlns:a16="http://schemas.microsoft.com/office/drawing/2014/main" id="{C7C7759B-457D-45A1-801D-266388AA15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057663" y="5742781"/>
            <a:ext cx="720000" cy="720000"/>
          </a:xfrm>
          <a:prstGeom prst="rect">
            <a:avLst/>
          </a:prstGeom>
        </p:spPr>
      </p:pic>
      <p:pic>
        <p:nvPicPr>
          <p:cNvPr id="5" name="Graphic 4">
            <a:extLst>
              <a:ext uri="{FF2B5EF4-FFF2-40B4-BE49-F238E27FC236}">
                <a16:creationId xmlns:a16="http://schemas.microsoft.com/office/drawing/2014/main" id="{94DDBE63-E1AD-49F4-BD7F-17E43C4AAD0A}"/>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59084" y="260670"/>
            <a:ext cx="3016065" cy="1226133"/>
          </a:xfrm>
          <a:prstGeom prst="rect">
            <a:avLst/>
          </a:prstGeom>
        </p:spPr>
      </p:pic>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04813" y="2339007"/>
            <a:ext cx="11386134" cy="2031325"/>
          </a:xfrm>
          <a:prstGeom prst="rect">
            <a:avLst/>
          </a:prstGeom>
        </p:spPr>
        <p:txBody>
          <a:bodyPr wrap="square" lIns="0" rIns="0" bIns="0" anchor="b" anchorCtr="0">
            <a:noAutofit/>
          </a:bodyPr>
          <a:lstStyle>
            <a:lvl1pPr algn="l">
              <a:lnSpc>
                <a:spcPct val="100000"/>
              </a:lnSpc>
              <a:defRPr sz="6600" b="1" baseline="0">
                <a:solidFill>
                  <a:schemeClr val="bg1"/>
                </a:solidFill>
                <a:latin typeface="+mn-lt"/>
              </a:defRPr>
            </a:lvl1pPr>
          </a:lstStyle>
          <a:p>
            <a:r>
              <a:rPr lang="en-US" dirty="0"/>
              <a:t>Click to </a:t>
            </a:r>
            <a:br>
              <a:rPr lang="en-US" dirty="0"/>
            </a:br>
            <a:r>
              <a:rPr lang="en-US" dirty="0"/>
              <a:t>insert Title</a:t>
            </a:r>
            <a:endParaRPr lang="en-GB" dirty="0"/>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4242574"/>
            <a:ext cx="11379200" cy="307777"/>
          </a:xfrm>
        </p:spPr>
        <p:txBody>
          <a:bodyPr wrap="square" lIns="36000" tIns="0" rIns="36000">
            <a:no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endParaRPr lang="en-GB" dirty="0"/>
          </a:p>
        </p:txBody>
      </p:sp>
    </p:spTree>
    <p:extLst>
      <p:ext uri="{BB962C8B-B14F-4D97-AF65-F5344CB8AC3E}">
        <p14:creationId xmlns:p14="http://schemas.microsoft.com/office/powerpoint/2010/main" val="50972129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da Slide Shape dark grey">
    <p:bg>
      <p:bgPr>
        <a:solidFill>
          <a:schemeClr val="accent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C9A8329-EF0B-4F3C-83D8-B0764827AA9A}"/>
              </a:ext>
            </a:extLst>
          </p:cNvPr>
          <p:cNvPicPr>
            <a:picLocks noChangeAspect="1"/>
          </p:cNvPicPr>
          <p:nvPr userDrawn="1"/>
        </p:nvPicPr>
        <p:blipFill>
          <a:blip r:embed="rId2">
            <a:extLst>
              <a:ext uri="{28A0092B-C50C-407E-A947-70E740481C1C}">
                <a14:useLocalDpi xmlns:a14="http://schemas.microsoft.com/office/drawing/2010/main" val="0"/>
              </a:ext>
            </a:extLst>
          </a:blip>
          <a:srcRect l="10852" r="15465" b="18284"/>
          <a:stretch>
            <a:fillRect/>
          </a:stretch>
        </p:blipFill>
        <p:spPr>
          <a:xfrm rot="21057776" flipH="1" flipV="1">
            <a:off x="-457817" y="-602568"/>
            <a:ext cx="9054123" cy="7102425"/>
          </a:xfrm>
          <a:custGeom>
            <a:avLst/>
            <a:gdLst>
              <a:gd name="connsiteX0" fmla="*/ 8082640 w 9054123"/>
              <a:gd name="connsiteY0" fmla="*/ 7102425 h 7102425"/>
              <a:gd name="connsiteX1" fmla="*/ 0 w 9054123"/>
              <a:gd name="connsiteY1" fmla="*/ 5816899 h 7102425"/>
              <a:gd name="connsiteX2" fmla="*/ 925164 w 9054123"/>
              <a:gd name="connsiteY2" fmla="*/ 0 h 7102425"/>
              <a:gd name="connsiteX3" fmla="*/ 2802549 w 9054123"/>
              <a:gd name="connsiteY3" fmla="*/ 0 h 7102425"/>
              <a:gd name="connsiteX4" fmla="*/ 9054123 w 9054123"/>
              <a:gd name="connsiteY4" fmla="*/ 994298 h 710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4123" h="7102425">
                <a:moveTo>
                  <a:pt x="8082640" y="7102425"/>
                </a:moveTo>
                <a:lnTo>
                  <a:pt x="0" y="5816899"/>
                </a:lnTo>
                <a:lnTo>
                  <a:pt x="925164" y="0"/>
                </a:lnTo>
                <a:lnTo>
                  <a:pt x="2802549" y="0"/>
                </a:lnTo>
                <a:lnTo>
                  <a:pt x="9054123" y="994298"/>
                </a:lnTo>
                <a:close/>
              </a:path>
            </a:pathLst>
          </a:custGeom>
        </p:spPr>
      </p:pic>
      <p:sp>
        <p:nvSpPr>
          <p:cNvPr id="12" name="Agenda Title">
            <a:extLst>
              <a:ext uri="{FF2B5EF4-FFF2-40B4-BE49-F238E27FC236}">
                <a16:creationId xmlns:a16="http://schemas.microsoft.com/office/drawing/2014/main" id="{1D9A725D-57CE-484F-951F-D92E09399FEA}"/>
              </a:ext>
            </a:extLst>
          </p:cNvPr>
          <p:cNvSpPr>
            <a:spLocks noGrp="1"/>
          </p:cNvSpPr>
          <p:nvPr>
            <p:ph type="title" hasCustomPrompt="1"/>
          </p:nvPr>
        </p:nvSpPr>
        <p:spPr>
          <a:xfrm>
            <a:off x="406200" y="388188"/>
            <a:ext cx="10944597" cy="716711"/>
          </a:xfrm>
          <a:prstGeom prst="rect">
            <a:avLst/>
          </a:prstGeom>
        </p:spPr>
        <p:txBody>
          <a:bodyPr/>
          <a:lstStyle>
            <a:lvl1pPr>
              <a:defRPr sz="6000">
                <a:solidFill>
                  <a:schemeClr val="bg1"/>
                </a:solidFill>
              </a:defRPr>
            </a:lvl1pPr>
          </a:lstStyle>
          <a:p>
            <a:r>
              <a:rPr lang="fr-FR"/>
              <a:t>Agenda</a:t>
            </a:r>
            <a:endParaRPr lang="de-DE"/>
          </a:p>
        </p:txBody>
      </p:sp>
      <p:sp>
        <p:nvSpPr>
          <p:cNvPr id="4" name="AgendaText">
            <a:extLst>
              <a:ext uri="{FF2B5EF4-FFF2-40B4-BE49-F238E27FC236}">
                <a16:creationId xmlns:a16="http://schemas.microsoft.com/office/drawing/2014/main" id="{7E84FF79-EB30-4235-9420-AC39206004F1}"/>
              </a:ext>
            </a:extLst>
          </p:cNvPr>
          <p:cNvSpPr>
            <a:spLocks noGrp="1"/>
          </p:cNvSpPr>
          <p:nvPr>
            <p:ph type="body" sz="quarter" idx="13"/>
          </p:nvPr>
        </p:nvSpPr>
        <p:spPr>
          <a:xfrm>
            <a:off x="1032347" y="1940400"/>
            <a:ext cx="10751666" cy="380480"/>
          </a:xfrm>
          <a:prstGeom prst="rect">
            <a:avLst/>
          </a:prstGeom>
        </p:spPr>
        <p:txBody>
          <a:bodyPr wrap="square" tIns="36000" bIns="36000" anchor="t">
            <a:spAutoFit/>
          </a:bodyPr>
          <a:lstStyle>
            <a:lvl1pPr marL="97200" marR="0" indent="0" algn="l" defTabSz="914400" rtl="0" eaLnBrk="1" fontAlgn="auto" latinLnBrk="0" hangingPunct="1">
              <a:lnSpc>
                <a:spcPct val="100000"/>
              </a:lnSpc>
              <a:spcBef>
                <a:spcPts val="1296"/>
              </a:spcBef>
              <a:spcAft>
                <a:spcPts val="0"/>
              </a:spcAft>
              <a:buClr>
                <a:schemeClr val="accent1"/>
              </a:buClr>
              <a:buSzTx/>
              <a:buFont typeface="Wingdings" pitchFamily="2" charset="2"/>
              <a:buNone/>
              <a:tabLst/>
              <a:defRPr sz="2000" cap="all" baseline="0">
                <a:solidFill>
                  <a:schemeClr val="bg1"/>
                </a:solidFill>
                <a:latin typeface="+mj-lt"/>
              </a:defRPr>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Tree>
    <p:extLst>
      <p:ext uri="{BB962C8B-B14F-4D97-AF65-F5344CB8AC3E}">
        <p14:creationId xmlns:p14="http://schemas.microsoft.com/office/powerpoint/2010/main" val="112185960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4" imgW="270" imgH="270" progId="TCLayout.ActiveDocument.1">
                  <p:embed/>
                </p:oleObj>
              </mc:Choice>
              <mc:Fallback>
                <p:oleObj name="think-cell Slide" r:id="rId4" imgW="270" imgH="270" progId="TCLayout.ActiveDocument.1">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de-DE"/>
          </a:p>
        </p:txBody>
      </p:sp>
    </p:spTree>
    <p:extLst>
      <p:ext uri="{BB962C8B-B14F-4D97-AF65-F5344CB8AC3E}">
        <p14:creationId xmlns:p14="http://schemas.microsoft.com/office/powerpoint/2010/main" val="282949867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66" name="think-cell Slide" r:id="rId4" imgW="270" imgH="270" progId="TCLayout.ActiveDocument.1">
                  <p:embed/>
                </p:oleObj>
              </mc:Choice>
              <mc:Fallback>
                <p:oleObj name="think-cell Slide" r:id="rId4" imgW="270" imgH="270" progId="TCLayout.ActiveDocument.1">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bg1"/>
                </a:solidFill>
              </a:defRPr>
            </a:lvl1pPr>
          </a:lstStyle>
          <a:p>
            <a:r>
              <a:rPr lang="fr-FR"/>
              <a:t>CLICK TO INSERT TITLE</a:t>
            </a:r>
            <a:endParaRPr lang="de-DE"/>
          </a:p>
        </p:txBody>
      </p:sp>
    </p:spTree>
    <p:extLst>
      <p:ext uri="{BB962C8B-B14F-4D97-AF65-F5344CB8AC3E}">
        <p14:creationId xmlns:p14="http://schemas.microsoft.com/office/powerpoint/2010/main" val="28431535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vmlDrawing" Target="../drawings/vmlDrawing5.v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heme" Target="../theme/theme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oleObject" Target="../embeddings/oleObject1.bin"/><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vmlDrawing" Target="../drawings/vmlDrawing9.v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theme" Target="../theme/theme3.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image" Target="../media/image1.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oleObject" Target="../embeddings/oleObject1.bin"/><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vmlDrawing" Target="../drawings/vmlDrawing13.v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theme" Target="../theme/theme4.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image" Target="../media/image1.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oleObject" Target="../embeddings/oleObject1.bin"/><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tags" Target="../tags/tag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theme" Target="../theme/theme5.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34" Type="http://schemas.openxmlformats.org/officeDocument/2006/relationships/image" Target="../media/image12.png"/><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image" Target="../media/image11.png"/><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oleObject" Target="../embeddings/oleObject3.bin"/><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image" Target="../media/image10.png"/><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tags" Target="../tags/tag3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image" Target="../media/image9.png"/><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vmlDrawing" Target="../drawings/vmlDrawing17.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6"/>
            </p:custDataLst>
            <p:extLst>
              <p:ext uri="{D42A27DB-BD31-4B8C-83A1-F6EECF244321}">
                <p14:modId xmlns:p14="http://schemas.microsoft.com/office/powerpoint/2010/main" val="286132287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27" imgW="270" imgH="270" progId="TCLayout.ActiveDocument.1">
                  <p:embed/>
                </p:oleObj>
              </mc:Choice>
              <mc:Fallback>
                <p:oleObj name="think-cell Slide" r:id="rId27" imgW="270" imgH="270" progId="TCLayout.ActiveDocument.1">
                  <p:embed/>
                  <p:pic>
                    <p:nvPicPr>
                      <p:cNvPr id="21" name="Object 20"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13001227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79" r:id="rId18"/>
    <p:sldLayoutId id="2147483680" r:id="rId19"/>
    <p:sldLayoutId id="2147483681" r:id="rId20"/>
    <p:sldLayoutId id="2147483682" r:id="rId21"/>
    <p:sldLayoutId id="2147483683" r:id="rId22"/>
    <p:sldLayoutId id="2147483684" r:id="rId23"/>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extLst>
              <p:ext uri="{D42A27DB-BD31-4B8C-83A1-F6EECF244321}">
                <p14:modId xmlns:p14="http://schemas.microsoft.com/office/powerpoint/2010/main" val="187264443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30"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93872959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extLst>
              <p:ext uri="{D42A27DB-BD31-4B8C-83A1-F6EECF244321}">
                <p14:modId xmlns:p14="http://schemas.microsoft.com/office/powerpoint/2010/main" val="227849794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76935894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extLst>
              <p:ext uri="{D42A27DB-BD31-4B8C-83A1-F6EECF244321}">
                <p14:modId xmlns:p14="http://schemas.microsoft.com/office/powerpoint/2010/main" val="137810593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2"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274564378"/>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p:cNvGraphicFramePr>
            <a:graphicFrameLocks noChangeAspect="1"/>
          </p:cNvGraphicFramePr>
          <p:nvPr>
            <p:custDataLst>
              <p:tags r:id="rId28"/>
            </p:custDataLst>
            <p:extLst>
              <p:ext uri="{D42A27DB-BD31-4B8C-83A1-F6EECF244321}">
                <p14:modId xmlns:p14="http://schemas.microsoft.com/office/powerpoint/2010/main" val="55025335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8" name="think-cell Slide" r:id="rId29" imgW="270" imgH="270" progId="TCLayout.ActiveDocument.1">
                  <p:embed/>
                </p:oleObj>
              </mc:Choice>
              <mc:Fallback>
                <p:oleObj name="think-cell Slide" r:id="rId29" imgW="270" imgH="270" progId="TCLayout.ActiveDocument.1">
                  <p:embed/>
                  <p:pic>
                    <p:nvPicPr>
                      <p:cNvPr id="21" name="Object"/>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61" name="FootnoteAndSource" hidden="1">
            <a:extLst>
              <a:ext uri="{FF2B5EF4-FFF2-40B4-BE49-F238E27FC236}">
                <a16:creationId xmlns:a16="http://schemas.microsoft.com/office/drawing/2014/main" id="{2683B2D7-11AF-4AFA-BA6D-D42EAA9BAA37}"/>
              </a:ext>
            </a:extLst>
          </p:cNvPr>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a:t>	Source:	Source Text</a:t>
            </a:r>
          </a:p>
        </p:txBody>
      </p:sp>
      <p:sp>
        <p:nvSpPr>
          <p:cNvPr id="88" name="CapgeminiBox" hidden="1">
            <a:extLst>
              <a:ext uri="{FF2B5EF4-FFF2-40B4-BE49-F238E27FC236}">
                <a16:creationId xmlns:a16="http://schemas.microsoft.com/office/drawing/2014/main" id="{9BD50CCB-2161-4578-8F33-E8B1078DD298}"/>
              </a:ext>
            </a:extLst>
          </p:cNvPr>
          <p:cNvSpPr txBox="1">
            <a:spLocks/>
          </p:cNvSpPr>
          <p:nvPr userDrawn="1"/>
        </p:nvSpPr>
        <p:spPr>
          <a:xfrm>
            <a:off x="411252" y="82573"/>
            <a:ext cx="1940332" cy="30636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Global V9.2</a:t>
            </a:r>
          </a:p>
          <a:p>
            <a:pPr lvl="4"/>
            <a:endParaRPr lang="en-US"/>
          </a:p>
        </p:txBody>
      </p:sp>
      <p:grpSp>
        <p:nvGrpSpPr>
          <p:cNvPr id="94" name="CG Spade Blue">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 name="Content Placeholder"/>
          <p:cNvSpPr>
            <a:spLocks noGrp="1"/>
          </p:cNvSpPr>
          <p:nvPr>
            <p:ph type="body" idx="1"/>
          </p:nvPr>
        </p:nvSpPr>
        <p:spPr>
          <a:xfrm>
            <a:off x="404813" y="1329743"/>
            <a:ext cx="11379600" cy="5134557"/>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6" name="Footer Slide number">
            <a:extLst>
              <a:ext uri="{FF2B5EF4-FFF2-40B4-BE49-F238E27FC236}">
                <a16:creationId xmlns:a16="http://schemas.microsoft.com/office/drawing/2014/main" id="{5539996C-DD2A-49D6-AFB0-763FCB2EE440}"/>
              </a:ext>
            </a:extLst>
          </p:cNvPr>
          <p:cNvSpPr/>
          <p:nvPr userDrawn="1"/>
        </p:nvSpPr>
        <p:spPr>
          <a:xfrm>
            <a:off x="11744128" y="6541977"/>
            <a:ext cx="229263" cy="200055"/>
          </a:xfrm>
          <a:prstGeom prst="rect">
            <a:avLst/>
          </a:prstGeom>
        </p:spPr>
        <p:txBody>
          <a:bodyPr wrap="square" lIns="0" rIns="0">
            <a:spAutoFit/>
          </a:bodyPr>
          <a:lstStyle/>
          <a:p>
            <a:pPr algn="r"/>
            <a:fld id="{0502E5A9-B53C-401E-A0E0-4A359BB0A9E5}" type="slidenum">
              <a:rPr lang="en-US" sz="700" smtClean="0">
                <a:solidFill>
                  <a:srgbClr val="A6A6A6"/>
                </a:solidFill>
                <a:latin typeface="+mn-lt"/>
                <a:cs typeface="Arial" panose="020B0604020202020204" pitchFamily="34" charset="0"/>
              </a:rPr>
              <a:pPr algn="r"/>
              <a:t>‹#›</a:t>
            </a:fld>
            <a:endParaRPr lang="en-US" sz="700">
              <a:solidFill>
                <a:srgbClr val="A6A6A6"/>
              </a:solidFill>
              <a:latin typeface="+mn-lt"/>
              <a:cs typeface="Arial" panose="020B0604020202020204" pitchFamily="34" charset="0"/>
            </a:endParaRPr>
          </a:p>
        </p:txBody>
      </p:sp>
      <p:sp>
        <p:nvSpPr>
          <p:cNvPr id="89" name="Footer Copyright">
            <a:extLst>
              <a:ext uri="{FF2B5EF4-FFF2-40B4-BE49-F238E27FC236}">
                <a16:creationId xmlns:a16="http://schemas.microsoft.com/office/drawing/2014/main" id="{01D50803-B26A-4936-A06C-6E086A6DD719}"/>
              </a:ext>
            </a:extLst>
          </p:cNvPr>
          <p:cNvSpPr/>
          <p:nvPr userDrawn="1"/>
        </p:nvSpPr>
        <p:spPr>
          <a:xfrm>
            <a:off x="7257892" y="6532276"/>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mn-lt"/>
                <a:cs typeface="Arial" panose="020B0604020202020204" pitchFamily="34" charset="0"/>
              </a:rPr>
              <a:t>© Capgemini 2022. All rights reserved  |</a:t>
            </a:r>
          </a:p>
        </p:txBody>
      </p:sp>
      <p:sp>
        <p:nvSpPr>
          <p:cNvPr id="62" name="TextBoxFileName">
            <a:extLst>
              <a:ext uri="{FF2B5EF4-FFF2-40B4-BE49-F238E27FC236}">
                <a16:creationId xmlns:a16="http://schemas.microsoft.com/office/drawing/2014/main" id="{CB4B3393-018E-4D63-9562-C180FB014564}"/>
              </a:ext>
            </a:extLst>
          </p:cNvPr>
          <p:cNvSpPr/>
          <p:nvPr userDrawn="1"/>
        </p:nvSpPr>
        <p:spPr>
          <a:xfrm>
            <a:off x="397094" y="6532276"/>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it-IT" sz="700">
                <a:solidFill>
                  <a:srgbClr val="A6A6A6"/>
                </a:solidFill>
                <a:latin typeface="+mn-lt"/>
              </a:rPr>
              <a:t>CONCEPT-TEMPLATE-Primary.pptx</a:t>
            </a:r>
            <a:endParaRPr lang="de-DE" sz="700">
              <a:solidFill>
                <a:srgbClr val="A6A6A6"/>
              </a:solidFill>
              <a:latin typeface="+mn-lt"/>
            </a:endParaRPr>
          </a:p>
        </p:txBody>
      </p:sp>
      <p:sp>
        <p:nvSpPr>
          <p:cNvPr id="64" name="Title Placeholder 1">
            <a:extLst>
              <a:ext uri="{FF2B5EF4-FFF2-40B4-BE49-F238E27FC236}">
                <a16:creationId xmlns:a16="http://schemas.microsoft.com/office/drawing/2014/main" id="{AFE02BC7-53A9-433B-A827-76F69AED5F28}"/>
              </a:ext>
            </a:extLst>
          </p:cNvPr>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24" name="SEC1" hidden="1">
            <a:extLst>
              <a:ext uri="{FF2B5EF4-FFF2-40B4-BE49-F238E27FC236}">
                <a16:creationId xmlns:a16="http://schemas.microsoft.com/office/drawing/2014/main" id="{79E04ADF-8D80-4EC8-B080-A98B163D7F8F}"/>
              </a:ext>
            </a:extLst>
          </p:cNvPr>
          <p:cNvSpPr/>
          <p:nvPr userDrawn="1"/>
        </p:nvSpPr>
        <p:spPr>
          <a:xfrm>
            <a:off x="11548715" y="656744"/>
            <a:ext cx="468000" cy="468000"/>
          </a:xfrm>
          <a:prstGeom prst="rect">
            <a:avLst/>
          </a:prstGeom>
          <a:blipFill>
            <a:blip r:embed="rId3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5" name="SEC3" hidden="1">
            <a:extLst>
              <a:ext uri="{FF2B5EF4-FFF2-40B4-BE49-F238E27FC236}">
                <a16:creationId xmlns:a16="http://schemas.microsoft.com/office/drawing/2014/main" id="{5A8C4100-1D6B-4E87-AF56-968A18021B35}"/>
              </a:ext>
            </a:extLst>
          </p:cNvPr>
          <p:cNvSpPr/>
          <p:nvPr userDrawn="1"/>
        </p:nvSpPr>
        <p:spPr>
          <a:xfrm>
            <a:off x="11548715" y="656744"/>
            <a:ext cx="468000" cy="468000"/>
          </a:xfrm>
          <a:prstGeom prst="rect">
            <a:avLst/>
          </a:prstGeom>
          <a:blipFill>
            <a:blip r:embed="rId3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6" name="SEC2" hidden="1">
            <a:extLst>
              <a:ext uri="{FF2B5EF4-FFF2-40B4-BE49-F238E27FC236}">
                <a16:creationId xmlns:a16="http://schemas.microsoft.com/office/drawing/2014/main" id="{84FDC387-8B88-4355-B0FC-3E25C90774B1}"/>
              </a:ext>
            </a:extLst>
          </p:cNvPr>
          <p:cNvSpPr/>
          <p:nvPr userDrawn="1"/>
        </p:nvSpPr>
        <p:spPr>
          <a:xfrm>
            <a:off x="11548715" y="656744"/>
            <a:ext cx="468000" cy="468000"/>
          </a:xfrm>
          <a:prstGeom prst="rect">
            <a:avLst/>
          </a:prstGeom>
          <a:blipFill>
            <a:blip r:embed="rId3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7" name="SEC0" hidden="1">
            <a:extLst>
              <a:ext uri="{FF2B5EF4-FFF2-40B4-BE49-F238E27FC236}">
                <a16:creationId xmlns:a16="http://schemas.microsoft.com/office/drawing/2014/main" id="{1D082514-D1C9-4F6B-B2B5-F4925246CB07}"/>
              </a:ext>
            </a:extLst>
          </p:cNvPr>
          <p:cNvSpPr/>
          <p:nvPr userDrawn="1"/>
        </p:nvSpPr>
        <p:spPr>
          <a:xfrm>
            <a:off x="11548715" y="656744"/>
            <a:ext cx="468000" cy="468000"/>
          </a:xfrm>
          <a:prstGeom prst="rect">
            <a:avLst/>
          </a:prstGeom>
          <a:blipFill>
            <a:blip r:embed="rId3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grpSp>
        <p:nvGrpSpPr>
          <p:cNvPr id="22" name="Group_Sticker" hidden="1">
            <a:extLst>
              <a:ext uri="{FF2B5EF4-FFF2-40B4-BE49-F238E27FC236}">
                <a16:creationId xmlns:a16="http://schemas.microsoft.com/office/drawing/2014/main" id="{1ECE9396-1C65-443B-B448-4CFFBD94AF29}"/>
              </a:ext>
            </a:extLst>
          </p:cNvPr>
          <p:cNvGrpSpPr/>
          <p:nvPr userDrawn="1"/>
        </p:nvGrpSpPr>
        <p:grpSpPr>
          <a:xfrm>
            <a:off x="9905199" y="389555"/>
            <a:ext cx="562654" cy="242788"/>
            <a:chOff x="8505826" y="-2406898"/>
            <a:chExt cx="562654" cy="242788"/>
          </a:xfrm>
        </p:grpSpPr>
        <p:sp>
          <p:nvSpPr>
            <p:cNvPr id="23" name="Textfeld 92">
              <a:extLst>
                <a:ext uri="{FF2B5EF4-FFF2-40B4-BE49-F238E27FC236}">
                  <a16:creationId xmlns:a16="http://schemas.microsoft.com/office/drawing/2014/main" id="{AD2EA157-58C3-47A9-B6E2-0FC3CAF019AF}"/>
                </a:ext>
              </a:extLst>
            </p:cNvPr>
            <p:cNvSpPr txBox="1"/>
            <p:nvPr userDrawn="1"/>
          </p:nvSpPr>
          <p:spPr>
            <a:xfrm>
              <a:off x="8523459" y="-2356098"/>
              <a:ext cx="527388" cy="153888"/>
            </a:xfrm>
            <a:prstGeom prst="rect">
              <a:avLst/>
            </a:prstGeom>
          </p:spPr>
          <p:txBody>
            <a:bodyPr vert="horz" wrap="none" lIns="0" tIns="0" rIns="0" bIns="0" rtlCol="0" anchor="ctr">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000" b="1">
                  <a:solidFill>
                    <a:schemeClr val="accent2"/>
                  </a:solidFill>
                </a:rPr>
                <a:t>STICKER</a:t>
              </a:r>
            </a:p>
          </p:txBody>
        </p:sp>
        <p:cxnSp>
          <p:nvCxnSpPr>
            <p:cNvPr id="28" name="Gerader Verbinder 96">
              <a:extLst>
                <a:ext uri="{FF2B5EF4-FFF2-40B4-BE49-F238E27FC236}">
                  <a16:creationId xmlns:a16="http://schemas.microsoft.com/office/drawing/2014/main" id="{B6A8E66F-2FF6-4D16-83EF-FCCE8B17731D}"/>
                </a:ext>
              </a:extLst>
            </p:cNvPr>
            <p:cNvCxnSpPr/>
            <p:nvPr userDrawn="1"/>
          </p:nvCxnSpPr>
          <p:spPr>
            <a:xfrm>
              <a:off x="8505826" y="-2406898"/>
              <a:ext cx="56265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Gerader Verbinder 97">
              <a:extLst>
                <a:ext uri="{FF2B5EF4-FFF2-40B4-BE49-F238E27FC236}">
                  <a16:creationId xmlns:a16="http://schemas.microsoft.com/office/drawing/2014/main" id="{9807C094-5282-4B69-89B6-14C2434B0ED0}"/>
                </a:ext>
              </a:extLst>
            </p:cNvPr>
            <p:cNvCxnSpPr/>
            <p:nvPr userDrawn="1"/>
          </p:nvCxnSpPr>
          <p:spPr>
            <a:xfrm>
              <a:off x="8505826" y="-2164110"/>
              <a:ext cx="562654"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400042"/>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23">
          <p15:clr>
            <a:srgbClr val="F26B43"/>
          </p15:clr>
        </p15:guide>
        <p15:guide id="3" orient="horz" pos="4071">
          <p15:clr>
            <a:srgbClr val="F26B43"/>
          </p15:clr>
        </p15:guide>
        <p15:guide id="4" pos="255">
          <p15:clr>
            <a:srgbClr val="F26B43"/>
          </p15:clr>
        </p15:guide>
        <p15:guide id="5" orient="horz" pos="708">
          <p15:clr>
            <a:srgbClr val="F26B43"/>
          </p15:clr>
        </p15:guide>
        <p15:guide id="7" pos="3840">
          <p15:clr>
            <a:srgbClr val="F26B43"/>
          </p15:clr>
        </p15:guide>
        <p15:guide id="8" pos="3897">
          <p15:clr>
            <a:srgbClr val="F26B43"/>
          </p15:clr>
        </p15:guide>
        <p15:guide id="9" pos="3783">
          <p15:clr>
            <a:srgbClr val="F26B43"/>
          </p15:clr>
        </p15:guide>
        <p15:guide id="14" orient="horz" pos="2160">
          <p15:clr>
            <a:srgbClr val="F26B43"/>
          </p15:clr>
        </p15:guide>
        <p15:guide id="23" orient="horz" pos="836">
          <p15:clr>
            <a:srgbClr val="F26B43"/>
          </p15:clr>
        </p15:guide>
        <p15:guide id="24" orient="horz" pos="24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9.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8.png"/><Relationship Id="rId4" Type="http://schemas.openxmlformats.org/officeDocument/2006/relationships/image" Target="../media/image27.emf"/></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99.xml"/></Relationships>
</file>

<file path=ppt/slides/_rels/slide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40.xml"/><Relationship Id="rId7" Type="http://schemas.openxmlformats.org/officeDocument/2006/relationships/image" Target="../media/image30.svg"/><Relationship Id="rId12" Type="http://schemas.openxmlformats.org/officeDocument/2006/relationships/image" Target="../media/image35.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slideLayout" Target="../slideLayouts/slideLayout99.xml"/><Relationship Id="rId10" Type="http://schemas.openxmlformats.org/officeDocument/2006/relationships/image" Target="../media/image33.png"/><Relationship Id="rId4" Type="http://schemas.openxmlformats.org/officeDocument/2006/relationships/tags" Target="../tags/tag41.xml"/><Relationship Id="rId9" Type="http://schemas.openxmlformats.org/officeDocument/2006/relationships/image" Target="../media/image32.svg"/></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tags" Target="../tags/tag44.xml"/><Relationship Id="rId7" Type="http://schemas.openxmlformats.org/officeDocument/2006/relationships/image" Target="../media/image30.svg"/><Relationship Id="rId12" Type="http://schemas.openxmlformats.org/officeDocument/2006/relationships/image" Target="../media/image35.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slideLayout" Target="../slideLayouts/slideLayout99.xml"/><Relationship Id="rId10" Type="http://schemas.openxmlformats.org/officeDocument/2006/relationships/image" Target="../media/image33.png"/><Relationship Id="rId4" Type="http://schemas.openxmlformats.org/officeDocument/2006/relationships/tags" Target="../tags/tag45.xml"/><Relationship Id="rId9" Type="http://schemas.openxmlformats.org/officeDocument/2006/relationships/image" Target="../media/image32.svg"/></Relationships>
</file>

<file path=ppt/slides/_rels/slide5.xml.rels><?xml version="1.0" encoding="UTF-8" standalone="yes"?>
<Relationships xmlns="http://schemas.openxmlformats.org/package/2006/relationships"><Relationship Id="rId8" Type="http://schemas.openxmlformats.org/officeDocument/2006/relationships/hyperlink" Target="https://capgemini.sharepoint.com/:v:/s/Falcon2022/EULOTHkQj2lOo8K5-g3k4UcBSdG-7_xf2zP7qNBqIsbwYw?e=9OaIuX" TargetMode="External"/><Relationship Id="rId13" Type="http://schemas.openxmlformats.org/officeDocument/2006/relationships/image" Target="../media/image39.png"/><Relationship Id="rId3" Type="http://schemas.openxmlformats.org/officeDocument/2006/relationships/diagramLayout" Target="../diagrams/layout1.xml"/><Relationship Id="rId7" Type="http://schemas.openxmlformats.org/officeDocument/2006/relationships/hyperlink" Target="https://capgemini.sharepoint.com/:f:/s/Falcon2022/Eiu09-XmOgJMuD7ft37FpJMBBuDwwPSfJeAEhP_-tfa1Kw?e=c0sJeX" TargetMode="External"/><Relationship Id="rId12" Type="http://schemas.openxmlformats.org/officeDocument/2006/relationships/hyperlink" Target="https://capgemini.sharepoint.com/:v:/s/Falcon2022/Ef_LfiZRikNItXgOCH5MjB0Bji5XeGQUNgWBnEAm6UNcZg?e=sSLtb1" TargetMode="External"/><Relationship Id="rId2" Type="http://schemas.openxmlformats.org/officeDocument/2006/relationships/diagramData" Target="../diagrams/data1.xml"/><Relationship Id="rId1" Type="http://schemas.openxmlformats.org/officeDocument/2006/relationships/slideLayout" Target="../slideLayouts/slideLayout99.xml"/><Relationship Id="rId6" Type="http://schemas.microsoft.com/office/2007/relationships/diagramDrawing" Target="../diagrams/drawing1.xml"/><Relationship Id="rId11" Type="http://schemas.openxmlformats.org/officeDocument/2006/relationships/image" Target="../media/image38.png"/><Relationship Id="rId5" Type="http://schemas.openxmlformats.org/officeDocument/2006/relationships/diagramColors" Target="../diagrams/colors1.xml"/><Relationship Id="rId10" Type="http://schemas.openxmlformats.org/officeDocument/2006/relationships/hyperlink" Target="https://capgemini.sharepoint.com/:v:/s/Falcon2022/EXx53gllWkBLs2b-303kds0BbgXsr_-ppznF4BGFknqhTg?e=540d4h" TargetMode="External"/><Relationship Id="rId4" Type="http://schemas.openxmlformats.org/officeDocument/2006/relationships/diagramQuickStyle" Target="../diagrams/quickStyle1.xml"/><Relationship Id="rId9" Type="http://schemas.openxmlformats.org/officeDocument/2006/relationships/image" Target="../media/image37.png"/></Relationships>
</file>

<file path=ppt/slides/_rels/slide6.xml.rels><?xml version="1.0" encoding="UTF-8" standalone="yes"?>
<Relationships xmlns="http://schemas.openxmlformats.org/package/2006/relationships"><Relationship Id="rId2" Type="http://schemas.openxmlformats.org/officeDocument/2006/relationships/hyperlink" Target="https://tmt-connect.capgemini.com/form/falcon-tmt-innovation-form" TargetMode="External"/><Relationship Id="rId1" Type="http://schemas.openxmlformats.org/officeDocument/2006/relationships/slideLayout" Target="../slideLayouts/slideLayou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7907FB02-405C-DF9F-8EE1-1D342FE072A6}"/>
              </a:ext>
            </a:extLst>
          </p:cNvPr>
          <p:cNvCxnSpPr>
            <a:cxnSpLocks/>
            <a:stCxn id="5" idx="0"/>
          </p:cNvCxnSpPr>
          <p:nvPr/>
        </p:nvCxnSpPr>
        <p:spPr>
          <a:xfrm flipV="1">
            <a:off x="6090851" y="1992749"/>
            <a:ext cx="104" cy="864096"/>
          </a:xfrm>
          <a:prstGeom prst="line">
            <a:avLst/>
          </a:prstGeom>
          <a:ln w="38100">
            <a:solidFill>
              <a:schemeClr val="accent2"/>
            </a:solidFill>
            <a:headEnd type="triangle" w="lg" len="med"/>
            <a:tailEnd type="none"/>
          </a:ln>
        </p:spPr>
        <p:style>
          <a:lnRef idx="1">
            <a:schemeClr val="accent1"/>
          </a:lnRef>
          <a:fillRef idx="0">
            <a:schemeClr val="accent1"/>
          </a:fillRef>
          <a:effectRef idx="0">
            <a:schemeClr val="accent1"/>
          </a:effectRef>
          <a:fontRef idx="minor">
            <a:schemeClr val="tx1"/>
          </a:fontRef>
        </p:style>
      </p:cxnSp>
      <p:sp>
        <p:nvSpPr>
          <p:cNvPr id="5" name="Oval 27">
            <a:extLst>
              <a:ext uri="{FF2B5EF4-FFF2-40B4-BE49-F238E27FC236}">
                <a16:creationId xmlns:a16="http://schemas.microsoft.com/office/drawing/2014/main" id="{7759A5B2-EADE-7FBE-710D-74E3EE29B51F}"/>
              </a:ext>
            </a:extLst>
          </p:cNvPr>
          <p:cNvSpPr>
            <a:spLocks noChangeArrowheads="1"/>
          </p:cNvSpPr>
          <p:nvPr>
            <p:custDataLst>
              <p:tags r:id="rId1"/>
            </p:custDataLst>
          </p:nvPr>
        </p:nvSpPr>
        <p:spPr bwMode="auto">
          <a:xfrm flipH="1">
            <a:off x="5154851" y="2856845"/>
            <a:ext cx="1872000" cy="1872000"/>
          </a:xfrm>
          <a:prstGeom prst="ellipse">
            <a:avLst/>
          </a:prstGeom>
          <a:solidFill>
            <a:schemeClr val="accent4"/>
          </a:solidFill>
          <a:ln w="6350" cmpd="sng">
            <a:no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de-DE" sz="1600" b="0" i="0" u="none" strike="noStrike" kern="1200" cap="none" spc="0" normalizeH="0" baseline="0" noProof="0" dirty="0">
              <a:ln>
                <a:noFill/>
              </a:ln>
              <a:solidFill>
                <a:srgbClr val="12ABDB"/>
              </a:solidFill>
              <a:effectLst/>
              <a:uLnTx/>
              <a:uFillTx/>
              <a:latin typeface="Ubuntu Medium"/>
              <a:ea typeface="+mn-ea"/>
              <a:cs typeface="+mn-cs"/>
            </a:endParaRPr>
          </a:p>
        </p:txBody>
      </p:sp>
      <p:cxnSp>
        <p:nvCxnSpPr>
          <p:cNvPr id="6" name="Straight Connector 5">
            <a:extLst>
              <a:ext uri="{FF2B5EF4-FFF2-40B4-BE49-F238E27FC236}">
                <a16:creationId xmlns:a16="http://schemas.microsoft.com/office/drawing/2014/main" id="{4442FC71-37F8-1DDE-EE35-D8E5EA03E2A9}"/>
              </a:ext>
            </a:extLst>
          </p:cNvPr>
          <p:cNvCxnSpPr>
            <a:cxnSpLocks/>
          </p:cNvCxnSpPr>
          <p:nvPr/>
        </p:nvCxnSpPr>
        <p:spPr>
          <a:xfrm flipH="1">
            <a:off x="4525829" y="4256303"/>
            <a:ext cx="756237" cy="434331"/>
          </a:xfrm>
          <a:prstGeom prst="line">
            <a:avLst/>
          </a:prstGeom>
          <a:ln w="38100">
            <a:solidFill>
              <a:schemeClr val="accent2"/>
            </a:solidFill>
            <a:headEnd type="triangle" w="lg" len="med"/>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506C3F2-B3FD-D02A-D4C0-ED295C3CE259}"/>
              </a:ext>
            </a:extLst>
          </p:cNvPr>
          <p:cNvCxnSpPr>
            <a:cxnSpLocks/>
          </p:cNvCxnSpPr>
          <p:nvPr/>
        </p:nvCxnSpPr>
        <p:spPr>
          <a:xfrm>
            <a:off x="6901941" y="4261914"/>
            <a:ext cx="743425" cy="431091"/>
          </a:xfrm>
          <a:prstGeom prst="line">
            <a:avLst/>
          </a:prstGeom>
          <a:ln w="38100">
            <a:solidFill>
              <a:schemeClr val="accent2"/>
            </a:solidFill>
            <a:headEnd type="triangle" w="lg" len="med"/>
            <a:tailEnd type="none"/>
          </a:ln>
        </p:spPr>
        <p:style>
          <a:lnRef idx="1">
            <a:schemeClr val="accent1"/>
          </a:lnRef>
          <a:fillRef idx="0">
            <a:schemeClr val="accent1"/>
          </a:fillRef>
          <a:effectRef idx="0">
            <a:schemeClr val="accent1"/>
          </a:effectRef>
          <a:fontRef idx="minor">
            <a:schemeClr val="tx1"/>
          </a:fontRef>
        </p:style>
      </p:cxnSp>
      <p:sp>
        <p:nvSpPr>
          <p:cNvPr id="11" name="Oval 27">
            <a:extLst>
              <a:ext uri="{FF2B5EF4-FFF2-40B4-BE49-F238E27FC236}">
                <a16:creationId xmlns:a16="http://schemas.microsoft.com/office/drawing/2014/main" id="{F4F76E42-1E7A-5916-A446-682D9FC3FFEB}"/>
              </a:ext>
            </a:extLst>
          </p:cNvPr>
          <p:cNvSpPr>
            <a:spLocks noChangeArrowheads="1"/>
          </p:cNvSpPr>
          <p:nvPr>
            <p:custDataLst>
              <p:tags r:id="rId2"/>
            </p:custDataLst>
          </p:nvPr>
        </p:nvSpPr>
        <p:spPr bwMode="auto">
          <a:xfrm flipH="1">
            <a:off x="5140203" y="2856845"/>
            <a:ext cx="1872000" cy="1872000"/>
          </a:xfrm>
          <a:prstGeom prst="ellipse">
            <a:avLst/>
          </a:prstGeom>
          <a:solidFill>
            <a:schemeClr val="bg1"/>
          </a:solidFill>
          <a:ln w="6350" cmpd="sng">
            <a:no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de-DE" sz="1600" b="0" i="0" u="none" strike="noStrike" kern="1200" cap="none" spc="0" normalizeH="0" baseline="0" noProof="0" dirty="0">
              <a:ln>
                <a:noFill/>
              </a:ln>
              <a:solidFill>
                <a:srgbClr val="12ABDB"/>
              </a:solidFill>
              <a:effectLst/>
              <a:uLnTx/>
              <a:uFillTx/>
              <a:latin typeface="Ubuntu Medium"/>
              <a:ea typeface="+mn-ea"/>
              <a:cs typeface="+mn-cs"/>
            </a:endParaRPr>
          </a:p>
        </p:txBody>
      </p:sp>
      <p:sp>
        <p:nvSpPr>
          <p:cNvPr id="22" name="Freeform 114">
            <a:extLst>
              <a:ext uri="{FF2B5EF4-FFF2-40B4-BE49-F238E27FC236}">
                <a16:creationId xmlns:a16="http://schemas.microsoft.com/office/drawing/2014/main" id="{612C9355-4EDB-C50A-FEDB-6414A8591F07}"/>
              </a:ext>
            </a:extLst>
          </p:cNvPr>
          <p:cNvSpPr>
            <a:spLocks/>
          </p:cNvSpPr>
          <p:nvPr/>
        </p:nvSpPr>
        <p:spPr bwMode="auto">
          <a:xfrm>
            <a:off x="5658851" y="1518954"/>
            <a:ext cx="864000" cy="864000"/>
          </a:xfrm>
          <a:custGeom>
            <a:avLst/>
            <a:gdLst>
              <a:gd name="T0" fmla="*/ 42 w 294"/>
              <a:gd name="T1" fmla="*/ 215 h 275"/>
              <a:gd name="T2" fmla="*/ 71 w 294"/>
              <a:gd name="T3" fmla="*/ 41 h 275"/>
              <a:gd name="T4" fmla="*/ 252 w 294"/>
              <a:gd name="T5" fmla="*/ 67 h 275"/>
              <a:gd name="T6" fmla="*/ 219 w 294"/>
              <a:gd name="T7" fmla="*/ 234 h 275"/>
              <a:gd name="T8" fmla="*/ 42 w 294"/>
              <a:gd name="T9" fmla="*/ 215 h 275"/>
            </a:gdLst>
            <a:ahLst/>
            <a:cxnLst>
              <a:cxn ang="0">
                <a:pos x="T0" y="T1"/>
              </a:cxn>
              <a:cxn ang="0">
                <a:pos x="T2" y="T3"/>
              </a:cxn>
              <a:cxn ang="0">
                <a:pos x="T4" y="T5"/>
              </a:cxn>
              <a:cxn ang="0">
                <a:pos x="T6" y="T7"/>
              </a:cxn>
              <a:cxn ang="0">
                <a:pos x="T8" y="T9"/>
              </a:cxn>
            </a:cxnLst>
            <a:rect l="0" t="0" r="r" b="b"/>
            <a:pathLst>
              <a:path w="294" h="275">
                <a:moveTo>
                  <a:pt x="42" y="215"/>
                </a:moveTo>
                <a:cubicBezTo>
                  <a:pt x="0" y="160"/>
                  <a:pt x="13" y="82"/>
                  <a:pt x="71" y="41"/>
                </a:cubicBezTo>
                <a:cubicBezTo>
                  <a:pt x="128" y="0"/>
                  <a:pt x="210" y="12"/>
                  <a:pt x="252" y="67"/>
                </a:cubicBezTo>
                <a:cubicBezTo>
                  <a:pt x="294" y="122"/>
                  <a:pt x="276" y="194"/>
                  <a:pt x="219" y="234"/>
                </a:cubicBezTo>
                <a:cubicBezTo>
                  <a:pt x="161" y="275"/>
                  <a:pt x="84" y="270"/>
                  <a:pt x="42" y="215"/>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3" name="Freeform 22">
            <a:extLst>
              <a:ext uri="{FF2B5EF4-FFF2-40B4-BE49-F238E27FC236}">
                <a16:creationId xmlns:a16="http://schemas.microsoft.com/office/drawing/2014/main" id="{A6ADF8D4-2E54-7E2D-C6ED-4EE18640F4A5}"/>
              </a:ext>
            </a:extLst>
          </p:cNvPr>
          <p:cNvSpPr>
            <a:spLocks/>
          </p:cNvSpPr>
          <p:nvPr/>
        </p:nvSpPr>
        <p:spPr bwMode="auto">
          <a:xfrm>
            <a:off x="3924358" y="4244144"/>
            <a:ext cx="1029021" cy="998932"/>
          </a:xfrm>
          <a:custGeom>
            <a:avLst/>
            <a:gdLst>
              <a:gd name="T0" fmla="*/ 34 w 233"/>
              <a:gd name="T1" fmla="*/ 169 h 216"/>
              <a:gd name="T2" fmla="*/ 56 w 233"/>
              <a:gd name="T3" fmla="*/ 32 h 216"/>
              <a:gd name="T4" fmla="*/ 199 w 233"/>
              <a:gd name="T5" fmla="*/ 52 h 216"/>
              <a:gd name="T6" fmla="*/ 173 w 233"/>
              <a:gd name="T7" fmla="*/ 184 h 216"/>
              <a:gd name="T8" fmla="*/ 34 w 233"/>
              <a:gd name="T9" fmla="*/ 169 h 216"/>
            </a:gdLst>
            <a:ahLst/>
            <a:cxnLst>
              <a:cxn ang="0">
                <a:pos x="T0" y="T1"/>
              </a:cxn>
              <a:cxn ang="0">
                <a:pos x="T2" y="T3"/>
              </a:cxn>
              <a:cxn ang="0">
                <a:pos x="T4" y="T5"/>
              </a:cxn>
              <a:cxn ang="0">
                <a:pos x="T6" y="T7"/>
              </a:cxn>
              <a:cxn ang="0">
                <a:pos x="T8" y="T9"/>
              </a:cxn>
            </a:cxnLst>
            <a:rect l="0" t="0" r="r" b="b"/>
            <a:pathLst>
              <a:path w="233" h="216">
                <a:moveTo>
                  <a:pt x="34" y="169"/>
                </a:moveTo>
                <a:cubicBezTo>
                  <a:pt x="0" y="126"/>
                  <a:pt x="10" y="64"/>
                  <a:pt x="56" y="32"/>
                </a:cubicBezTo>
                <a:cubicBezTo>
                  <a:pt x="102" y="0"/>
                  <a:pt x="166" y="9"/>
                  <a:pt x="199" y="52"/>
                </a:cubicBezTo>
                <a:cubicBezTo>
                  <a:pt x="233" y="96"/>
                  <a:pt x="219" y="152"/>
                  <a:pt x="173" y="184"/>
                </a:cubicBezTo>
                <a:cubicBezTo>
                  <a:pt x="128" y="216"/>
                  <a:pt x="67" y="213"/>
                  <a:pt x="34" y="169"/>
                </a:cubicBezTo>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4" name="Groupe 453">
            <a:extLst>
              <a:ext uri="{FF2B5EF4-FFF2-40B4-BE49-F238E27FC236}">
                <a16:creationId xmlns:a16="http://schemas.microsoft.com/office/drawing/2014/main" id="{577759A8-A870-50AF-7944-EBCDFF3EFBF8}"/>
              </a:ext>
            </a:extLst>
          </p:cNvPr>
          <p:cNvGrpSpPr>
            <a:grpSpLocks noChangeAspect="1"/>
          </p:cNvGrpSpPr>
          <p:nvPr/>
        </p:nvGrpSpPr>
        <p:grpSpPr>
          <a:xfrm>
            <a:off x="7213675" y="4256303"/>
            <a:ext cx="1053966" cy="986773"/>
            <a:chOff x="7112001" y="2103437"/>
            <a:chExt cx="871538" cy="815975"/>
          </a:xfrm>
          <a:solidFill>
            <a:srgbClr val="12ABDB"/>
          </a:solidFill>
        </p:grpSpPr>
        <p:sp>
          <p:nvSpPr>
            <p:cNvPr id="25" name="Freeform 104">
              <a:extLst>
                <a:ext uri="{FF2B5EF4-FFF2-40B4-BE49-F238E27FC236}">
                  <a16:creationId xmlns:a16="http://schemas.microsoft.com/office/drawing/2014/main" id="{76E51EA5-5A6E-9258-BD5D-E162BAC2ECD3}"/>
                </a:ext>
              </a:extLst>
            </p:cNvPr>
            <p:cNvSpPr>
              <a:spLocks/>
            </p:cNvSpPr>
            <p:nvPr/>
          </p:nvSpPr>
          <p:spPr bwMode="auto">
            <a:xfrm>
              <a:off x="7112001" y="2103437"/>
              <a:ext cx="871538" cy="815975"/>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1" y="0"/>
                    <a:pt x="166" y="9"/>
                    <a:pt x="199" y="53"/>
                  </a:cubicBezTo>
                  <a:cubicBezTo>
                    <a:pt x="232" y="96"/>
                    <a:pt x="219" y="152"/>
                    <a:pt x="173" y="185"/>
                  </a:cubicBezTo>
                  <a:cubicBezTo>
                    <a:pt x="127" y="217"/>
                    <a:pt x="67" y="213"/>
                    <a:pt x="34"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6" name="Groupe 455">
              <a:extLst>
                <a:ext uri="{FF2B5EF4-FFF2-40B4-BE49-F238E27FC236}">
                  <a16:creationId xmlns:a16="http://schemas.microsoft.com/office/drawing/2014/main" id="{D2C70873-3EB7-EE8C-E3B9-349ABE2236AD}"/>
                </a:ext>
              </a:extLst>
            </p:cNvPr>
            <p:cNvGrpSpPr/>
            <p:nvPr/>
          </p:nvGrpSpPr>
          <p:grpSpPr>
            <a:xfrm>
              <a:off x="7372351" y="2298700"/>
              <a:ext cx="344488" cy="508000"/>
              <a:chOff x="7372351" y="2298700"/>
              <a:chExt cx="344488" cy="508000"/>
            </a:xfrm>
            <a:grpFill/>
          </p:grpSpPr>
          <p:sp>
            <p:nvSpPr>
              <p:cNvPr id="27" name="Freeform 118">
                <a:extLst>
                  <a:ext uri="{FF2B5EF4-FFF2-40B4-BE49-F238E27FC236}">
                    <a16:creationId xmlns:a16="http://schemas.microsoft.com/office/drawing/2014/main" id="{4149D83E-2102-B386-F35E-2AB4298CE3DE}"/>
                  </a:ext>
                </a:extLst>
              </p:cNvPr>
              <p:cNvSpPr>
                <a:spLocks/>
              </p:cNvSpPr>
              <p:nvPr/>
            </p:nvSpPr>
            <p:spPr bwMode="auto">
              <a:xfrm>
                <a:off x="7372351" y="2298700"/>
                <a:ext cx="344488" cy="508000"/>
              </a:xfrm>
              <a:custGeom>
                <a:avLst/>
                <a:gdLst>
                  <a:gd name="T0" fmla="*/ 217 w 217"/>
                  <a:gd name="T1" fmla="*/ 109 h 320"/>
                  <a:gd name="T2" fmla="*/ 217 w 217"/>
                  <a:gd name="T3" fmla="*/ 88 h 320"/>
                  <a:gd name="T4" fmla="*/ 210 w 217"/>
                  <a:gd name="T5" fmla="*/ 67 h 320"/>
                  <a:gd name="T6" fmla="*/ 200 w 217"/>
                  <a:gd name="T7" fmla="*/ 50 h 320"/>
                  <a:gd name="T8" fmla="*/ 186 w 217"/>
                  <a:gd name="T9" fmla="*/ 33 h 320"/>
                  <a:gd name="T10" fmla="*/ 170 w 217"/>
                  <a:gd name="T11" fmla="*/ 19 h 320"/>
                  <a:gd name="T12" fmla="*/ 151 w 217"/>
                  <a:gd name="T13" fmla="*/ 10 h 320"/>
                  <a:gd name="T14" fmla="*/ 130 w 217"/>
                  <a:gd name="T15" fmla="*/ 3 h 320"/>
                  <a:gd name="T16" fmla="*/ 108 w 217"/>
                  <a:gd name="T17" fmla="*/ 0 h 320"/>
                  <a:gd name="T18" fmla="*/ 87 w 217"/>
                  <a:gd name="T19" fmla="*/ 3 h 320"/>
                  <a:gd name="T20" fmla="*/ 68 w 217"/>
                  <a:gd name="T21" fmla="*/ 10 h 320"/>
                  <a:gd name="T22" fmla="*/ 49 w 217"/>
                  <a:gd name="T23" fmla="*/ 19 h 320"/>
                  <a:gd name="T24" fmla="*/ 33 w 217"/>
                  <a:gd name="T25" fmla="*/ 33 h 320"/>
                  <a:gd name="T26" fmla="*/ 18 w 217"/>
                  <a:gd name="T27" fmla="*/ 50 h 320"/>
                  <a:gd name="T28" fmla="*/ 9 w 217"/>
                  <a:gd name="T29" fmla="*/ 67 h 320"/>
                  <a:gd name="T30" fmla="*/ 2 w 217"/>
                  <a:gd name="T31" fmla="*/ 88 h 320"/>
                  <a:gd name="T32" fmla="*/ 0 w 217"/>
                  <a:gd name="T33" fmla="*/ 109 h 320"/>
                  <a:gd name="T34" fmla="*/ 2 w 217"/>
                  <a:gd name="T35" fmla="*/ 130 h 320"/>
                  <a:gd name="T36" fmla="*/ 9 w 217"/>
                  <a:gd name="T37" fmla="*/ 152 h 320"/>
                  <a:gd name="T38" fmla="*/ 18 w 217"/>
                  <a:gd name="T39" fmla="*/ 171 h 320"/>
                  <a:gd name="T40" fmla="*/ 33 w 217"/>
                  <a:gd name="T41" fmla="*/ 185 h 320"/>
                  <a:gd name="T42" fmla="*/ 49 w 217"/>
                  <a:gd name="T43" fmla="*/ 199 h 320"/>
                  <a:gd name="T44" fmla="*/ 68 w 217"/>
                  <a:gd name="T45" fmla="*/ 209 h 320"/>
                  <a:gd name="T46" fmla="*/ 49 w 217"/>
                  <a:gd name="T47" fmla="*/ 265 h 320"/>
                  <a:gd name="T48" fmla="*/ 92 w 217"/>
                  <a:gd name="T49" fmla="*/ 277 h 320"/>
                  <a:gd name="T50" fmla="*/ 139 w 217"/>
                  <a:gd name="T51" fmla="*/ 320 h 320"/>
                  <a:gd name="T52" fmla="*/ 189 w 217"/>
                  <a:gd name="T53" fmla="*/ 313 h 320"/>
                  <a:gd name="T54" fmla="*/ 156 w 217"/>
                  <a:gd name="T55" fmla="*/ 190 h 320"/>
                  <a:gd name="T56" fmla="*/ 165 w 217"/>
                  <a:gd name="T57" fmla="*/ 178 h 320"/>
                  <a:gd name="T58" fmla="*/ 179 w 217"/>
                  <a:gd name="T59" fmla="*/ 166 h 320"/>
                  <a:gd name="T60" fmla="*/ 189 w 217"/>
                  <a:gd name="T61" fmla="*/ 152 h 320"/>
                  <a:gd name="T62" fmla="*/ 196 w 217"/>
                  <a:gd name="T63" fmla="*/ 135 h 320"/>
                  <a:gd name="T64" fmla="*/ 198 w 217"/>
                  <a:gd name="T65" fmla="*/ 11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320">
                    <a:moveTo>
                      <a:pt x="198" y="119"/>
                    </a:moveTo>
                    <a:lnTo>
                      <a:pt x="217" y="109"/>
                    </a:lnTo>
                    <a:lnTo>
                      <a:pt x="198" y="100"/>
                    </a:lnTo>
                    <a:lnTo>
                      <a:pt x="217" y="88"/>
                    </a:lnTo>
                    <a:lnTo>
                      <a:pt x="196" y="83"/>
                    </a:lnTo>
                    <a:lnTo>
                      <a:pt x="210" y="67"/>
                    </a:lnTo>
                    <a:lnTo>
                      <a:pt x="189" y="67"/>
                    </a:lnTo>
                    <a:lnTo>
                      <a:pt x="200" y="50"/>
                    </a:lnTo>
                    <a:lnTo>
                      <a:pt x="179" y="52"/>
                    </a:lnTo>
                    <a:lnTo>
                      <a:pt x="186" y="33"/>
                    </a:lnTo>
                    <a:lnTo>
                      <a:pt x="165" y="38"/>
                    </a:lnTo>
                    <a:lnTo>
                      <a:pt x="170" y="19"/>
                    </a:lnTo>
                    <a:lnTo>
                      <a:pt x="151" y="29"/>
                    </a:lnTo>
                    <a:lnTo>
                      <a:pt x="151" y="10"/>
                    </a:lnTo>
                    <a:lnTo>
                      <a:pt x="137" y="24"/>
                    </a:lnTo>
                    <a:lnTo>
                      <a:pt x="130" y="3"/>
                    </a:lnTo>
                    <a:lnTo>
                      <a:pt x="118" y="19"/>
                    </a:lnTo>
                    <a:lnTo>
                      <a:pt x="108" y="0"/>
                    </a:lnTo>
                    <a:lnTo>
                      <a:pt x="101" y="19"/>
                    </a:lnTo>
                    <a:lnTo>
                      <a:pt x="87" y="3"/>
                    </a:lnTo>
                    <a:lnTo>
                      <a:pt x="82" y="24"/>
                    </a:lnTo>
                    <a:lnTo>
                      <a:pt x="68" y="10"/>
                    </a:lnTo>
                    <a:lnTo>
                      <a:pt x="66" y="29"/>
                    </a:lnTo>
                    <a:lnTo>
                      <a:pt x="49" y="19"/>
                    </a:lnTo>
                    <a:lnTo>
                      <a:pt x="52" y="40"/>
                    </a:lnTo>
                    <a:lnTo>
                      <a:pt x="33" y="33"/>
                    </a:lnTo>
                    <a:lnTo>
                      <a:pt x="40" y="52"/>
                    </a:lnTo>
                    <a:lnTo>
                      <a:pt x="18" y="50"/>
                    </a:lnTo>
                    <a:lnTo>
                      <a:pt x="30" y="67"/>
                    </a:lnTo>
                    <a:lnTo>
                      <a:pt x="9" y="67"/>
                    </a:lnTo>
                    <a:lnTo>
                      <a:pt x="23" y="83"/>
                    </a:lnTo>
                    <a:lnTo>
                      <a:pt x="2" y="88"/>
                    </a:lnTo>
                    <a:lnTo>
                      <a:pt x="18" y="100"/>
                    </a:lnTo>
                    <a:lnTo>
                      <a:pt x="0" y="109"/>
                    </a:lnTo>
                    <a:lnTo>
                      <a:pt x="18" y="119"/>
                    </a:lnTo>
                    <a:lnTo>
                      <a:pt x="2" y="130"/>
                    </a:lnTo>
                    <a:lnTo>
                      <a:pt x="23" y="135"/>
                    </a:lnTo>
                    <a:lnTo>
                      <a:pt x="9" y="152"/>
                    </a:lnTo>
                    <a:lnTo>
                      <a:pt x="30" y="152"/>
                    </a:lnTo>
                    <a:lnTo>
                      <a:pt x="18" y="171"/>
                    </a:lnTo>
                    <a:lnTo>
                      <a:pt x="40" y="166"/>
                    </a:lnTo>
                    <a:lnTo>
                      <a:pt x="33" y="185"/>
                    </a:lnTo>
                    <a:lnTo>
                      <a:pt x="52" y="178"/>
                    </a:lnTo>
                    <a:lnTo>
                      <a:pt x="49" y="199"/>
                    </a:lnTo>
                    <a:lnTo>
                      <a:pt x="66" y="190"/>
                    </a:lnTo>
                    <a:lnTo>
                      <a:pt x="68" y="209"/>
                    </a:lnTo>
                    <a:lnTo>
                      <a:pt x="82" y="194"/>
                    </a:lnTo>
                    <a:lnTo>
                      <a:pt x="49" y="265"/>
                    </a:lnTo>
                    <a:lnTo>
                      <a:pt x="80" y="246"/>
                    </a:lnTo>
                    <a:lnTo>
                      <a:pt x="92" y="277"/>
                    </a:lnTo>
                    <a:lnTo>
                      <a:pt x="115" y="232"/>
                    </a:lnTo>
                    <a:lnTo>
                      <a:pt x="139" y="320"/>
                    </a:lnTo>
                    <a:lnTo>
                      <a:pt x="153" y="280"/>
                    </a:lnTo>
                    <a:lnTo>
                      <a:pt x="189" y="313"/>
                    </a:lnTo>
                    <a:lnTo>
                      <a:pt x="156" y="197"/>
                    </a:lnTo>
                    <a:lnTo>
                      <a:pt x="156" y="190"/>
                    </a:lnTo>
                    <a:lnTo>
                      <a:pt x="170" y="199"/>
                    </a:lnTo>
                    <a:lnTo>
                      <a:pt x="165" y="178"/>
                    </a:lnTo>
                    <a:lnTo>
                      <a:pt x="186" y="185"/>
                    </a:lnTo>
                    <a:lnTo>
                      <a:pt x="179" y="166"/>
                    </a:lnTo>
                    <a:lnTo>
                      <a:pt x="200" y="168"/>
                    </a:lnTo>
                    <a:lnTo>
                      <a:pt x="189" y="152"/>
                    </a:lnTo>
                    <a:lnTo>
                      <a:pt x="210" y="152"/>
                    </a:lnTo>
                    <a:lnTo>
                      <a:pt x="196" y="135"/>
                    </a:lnTo>
                    <a:lnTo>
                      <a:pt x="217" y="130"/>
                    </a:lnTo>
                    <a:lnTo>
                      <a:pt x="198"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8" name="Freeform 119">
                <a:extLst>
                  <a:ext uri="{FF2B5EF4-FFF2-40B4-BE49-F238E27FC236}">
                    <a16:creationId xmlns:a16="http://schemas.microsoft.com/office/drawing/2014/main" id="{C70F0B20-5A2E-F2DC-1DA9-E7B86D13E075}"/>
                  </a:ext>
                </a:extLst>
              </p:cNvPr>
              <p:cNvSpPr>
                <a:spLocks/>
              </p:cNvSpPr>
              <p:nvPr/>
            </p:nvSpPr>
            <p:spPr bwMode="auto">
              <a:xfrm>
                <a:off x="7439026" y="2366962"/>
                <a:ext cx="214313" cy="209550"/>
              </a:xfrm>
              <a:custGeom>
                <a:avLst/>
                <a:gdLst>
                  <a:gd name="T0" fmla="*/ 0 w 57"/>
                  <a:gd name="T1" fmla="*/ 28 h 56"/>
                  <a:gd name="T2" fmla="*/ 28 w 57"/>
                  <a:gd name="T3" fmla="*/ 0 h 56"/>
                  <a:gd name="T4" fmla="*/ 28 w 57"/>
                  <a:gd name="T5" fmla="*/ 0 h 56"/>
                  <a:gd name="T6" fmla="*/ 28 w 57"/>
                  <a:gd name="T7" fmla="*/ 0 h 56"/>
                  <a:gd name="T8" fmla="*/ 57 w 57"/>
                  <a:gd name="T9" fmla="*/ 28 h 56"/>
                  <a:gd name="T10" fmla="*/ 57 w 57"/>
                  <a:gd name="T11" fmla="*/ 28 h 56"/>
                  <a:gd name="T12" fmla="*/ 57 w 57"/>
                  <a:gd name="T13" fmla="*/ 28 h 56"/>
                  <a:gd name="T14" fmla="*/ 28 w 57"/>
                  <a:gd name="T15" fmla="*/ 56 h 56"/>
                  <a:gd name="T16" fmla="*/ 28 w 57"/>
                  <a:gd name="T17" fmla="*/ 56 h 56"/>
                  <a:gd name="T18" fmla="*/ 28 w 57"/>
                  <a:gd name="T19" fmla="*/ 56 h 56"/>
                  <a:gd name="T20" fmla="*/ 0 w 57"/>
                  <a:gd name="T21" fmla="*/ 28 h 56"/>
                  <a:gd name="T22" fmla="*/ 0 w 57"/>
                  <a:gd name="T23"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56">
                    <a:moveTo>
                      <a:pt x="0" y="28"/>
                    </a:moveTo>
                    <a:cubicBezTo>
                      <a:pt x="0" y="12"/>
                      <a:pt x="13" y="0"/>
                      <a:pt x="28" y="0"/>
                    </a:cubicBezTo>
                    <a:cubicBezTo>
                      <a:pt x="28" y="0"/>
                      <a:pt x="28" y="0"/>
                      <a:pt x="28" y="0"/>
                    </a:cubicBezTo>
                    <a:cubicBezTo>
                      <a:pt x="28" y="0"/>
                      <a:pt x="28" y="0"/>
                      <a:pt x="28" y="0"/>
                    </a:cubicBezTo>
                    <a:cubicBezTo>
                      <a:pt x="44" y="0"/>
                      <a:pt x="57" y="12"/>
                      <a:pt x="57" y="28"/>
                    </a:cubicBezTo>
                    <a:cubicBezTo>
                      <a:pt x="57" y="28"/>
                      <a:pt x="57" y="28"/>
                      <a:pt x="57" y="28"/>
                    </a:cubicBezTo>
                    <a:cubicBezTo>
                      <a:pt x="57" y="28"/>
                      <a:pt x="57" y="28"/>
                      <a:pt x="57" y="28"/>
                    </a:cubicBezTo>
                    <a:cubicBezTo>
                      <a:pt x="57" y="43"/>
                      <a:pt x="44" y="56"/>
                      <a:pt x="28" y="56"/>
                    </a:cubicBezTo>
                    <a:cubicBezTo>
                      <a:pt x="28" y="56"/>
                      <a:pt x="28" y="56"/>
                      <a:pt x="28" y="56"/>
                    </a:cubicBezTo>
                    <a:cubicBezTo>
                      <a:pt x="28" y="56"/>
                      <a:pt x="28" y="56"/>
                      <a:pt x="28" y="56"/>
                    </a:cubicBezTo>
                    <a:cubicBezTo>
                      <a:pt x="13" y="56"/>
                      <a:pt x="0" y="43"/>
                      <a:pt x="0" y="28"/>
                    </a:cubicBezTo>
                    <a:cubicBezTo>
                      <a:pt x="0" y="28"/>
                      <a:pt x="0"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30" name="Group 29">
            <a:extLst>
              <a:ext uri="{FF2B5EF4-FFF2-40B4-BE49-F238E27FC236}">
                <a16:creationId xmlns:a16="http://schemas.microsoft.com/office/drawing/2014/main" id="{9C862BB6-C0E0-D07D-6EB1-9E91C7A0E432}"/>
              </a:ext>
            </a:extLst>
          </p:cNvPr>
          <p:cNvGrpSpPr/>
          <p:nvPr/>
        </p:nvGrpSpPr>
        <p:grpSpPr>
          <a:xfrm>
            <a:off x="5911578" y="1704488"/>
            <a:ext cx="358850" cy="589157"/>
            <a:chOff x="5916623" y="1916603"/>
            <a:chExt cx="358850" cy="589157"/>
          </a:xfrm>
        </p:grpSpPr>
        <p:sp>
          <p:nvSpPr>
            <p:cNvPr id="13" name="Freeform 115">
              <a:extLst>
                <a:ext uri="{FF2B5EF4-FFF2-40B4-BE49-F238E27FC236}">
                  <a16:creationId xmlns:a16="http://schemas.microsoft.com/office/drawing/2014/main" id="{91B243C1-9F5C-B554-9AED-49F9A0515059}"/>
                </a:ext>
              </a:extLst>
            </p:cNvPr>
            <p:cNvSpPr>
              <a:spLocks/>
            </p:cNvSpPr>
            <p:nvPr/>
          </p:nvSpPr>
          <p:spPr bwMode="auto">
            <a:xfrm>
              <a:off x="6069825" y="2479445"/>
              <a:ext cx="85572" cy="26315"/>
            </a:xfrm>
            <a:custGeom>
              <a:avLst/>
              <a:gdLst>
                <a:gd name="T0" fmla="*/ 0 w 29"/>
                <a:gd name="T1" fmla="*/ 0 h 8"/>
                <a:gd name="T2" fmla="*/ 9 w 29"/>
                <a:gd name="T3" fmla="*/ 8 h 8"/>
                <a:gd name="T4" fmla="*/ 29 w 29"/>
                <a:gd name="T5" fmla="*/ 0 h 8"/>
                <a:gd name="T6" fmla="*/ 0 w 29"/>
                <a:gd name="T7" fmla="*/ 0 h 8"/>
                <a:gd name="T8" fmla="*/ 0 w 29"/>
                <a:gd name="T9" fmla="*/ 0 h 8"/>
              </a:gdLst>
              <a:ahLst/>
              <a:cxnLst>
                <a:cxn ang="0">
                  <a:pos x="T0" y="T1"/>
                </a:cxn>
                <a:cxn ang="0">
                  <a:pos x="T2" y="T3"/>
                </a:cxn>
                <a:cxn ang="0">
                  <a:pos x="T4" y="T5"/>
                </a:cxn>
                <a:cxn ang="0">
                  <a:pos x="T6" y="T7"/>
                </a:cxn>
                <a:cxn ang="0">
                  <a:pos x="T8" y="T9"/>
                </a:cxn>
              </a:cxnLst>
              <a:rect l="0" t="0" r="r" b="b"/>
              <a:pathLst>
                <a:path w="29" h="8">
                  <a:moveTo>
                    <a:pt x="0" y="0"/>
                  </a:moveTo>
                  <a:cubicBezTo>
                    <a:pt x="5" y="4"/>
                    <a:pt x="9" y="8"/>
                    <a:pt x="9" y="8"/>
                  </a:cubicBezTo>
                  <a:cubicBezTo>
                    <a:pt x="17" y="8"/>
                    <a:pt x="24" y="4"/>
                    <a:pt x="29"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 name="Freeform 116">
              <a:extLst>
                <a:ext uri="{FF2B5EF4-FFF2-40B4-BE49-F238E27FC236}">
                  <a16:creationId xmlns:a16="http://schemas.microsoft.com/office/drawing/2014/main" id="{0627FB0C-9CE9-07E0-2859-81143C253413}"/>
                </a:ext>
              </a:extLst>
            </p:cNvPr>
            <p:cNvSpPr>
              <a:spLocks/>
            </p:cNvSpPr>
            <p:nvPr/>
          </p:nvSpPr>
          <p:spPr bwMode="auto">
            <a:xfrm>
              <a:off x="6022898" y="2361029"/>
              <a:ext cx="146300" cy="27777"/>
            </a:xfrm>
            <a:custGeom>
              <a:avLst/>
              <a:gdLst>
                <a:gd name="T0" fmla="*/ 50 w 50"/>
                <a:gd name="T1" fmla="*/ 5 h 9"/>
                <a:gd name="T2" fmla="*/ 46 w 50"/>
                <a:gd name="T3" fmla="*/ 9 h 9"/>
                <a:gd name="T4" fmla="*/ 3 w 50"/>
                <a:gd name="T5" fmla="*/ 9 h 9"/>
                <a:gd name="T6" fmla="*/ 0 w 50"/>
                <a:gd name="T7" fmla="*/ 5 h 9"/>
                <a:gd name="T8" fmla="*/ 0 w 50"/>
                <a:gd name="T9" fmla="*/ 3 h 9"/>
                <a:gd name="T10" fmla="*/ 3 w 50"/>
                <a:gd name="T11" fmla="*/ 0 h 9"/>
                <a:gd name="T12" fmla="*/ 46 w 50"/>
                <a:gd name="T13" fmla="*/ 0 h 9"/>
                <a:gd name="T14" fmla="*/ 50 w 50"/>
                <a:gd name="T15" fmla="*/ 3 h 9"/>
                <a:gd name="T16" fmla="*/ 50 w 50"/>
                <a:gd name="T17" fmla="*/ 5 h 9"/>
                <a:gd name="T18" fmla="*/ 50 w 50"/>
                <a:gd name="T1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9">
                  <a:moveTo>
                    <a:pt x="50" y="5"/>
                  </a:moveTo>
                  <a:cubicBezTo>
                    <a:pt x="50" y="7"/>
                    <a:pt x="49" y="9"/>
                    <a:pt x="46" y="9"/>
                  </a:cubicBezTo>
                  <a:cubicBezTo>
                    <a:pt x="3" y="9"/>
                    <a:pt x="3" y="9"/>
                    <a:pt x="3" y="9"/>
                  </a:cubicBezTo>
                  <a:cubicBezTo>
                    <a:pt x="1" y="9"/>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 name="Freeform 117">
              <a:extLst>
                <a:ext uri="{FF2B5EF4-FFF2-40B4-BE49-F238E27FC236}">
                  <a16:creationId xmlns:a16="http://schemas.microsoft.com/office/drawing/2014/main" id="{2DC788AD-36F6-13D7-F6B5-6DD2A98A06D8}"/>
                </a:ext>
              </a:extLst>
            </p:cNvPr>
            <p:cNvSpPr>
              <a:spLocks/>
            </p:cNvSpPr>
            <p:nvPr/>
          </p:nvSpPr>
          <p:spPr bwMode="auto">
            <a:xfrm>
              <a:off x="6022898" y="2401963"/>
              <a:ext cx="146300" cy="24853"/>
            </a:xfrm>
            <a:custGeom>
              <a:avLst/>
              <a:gdLst>
                <a:gd name="T0" fmla="*/ 50 w 50"/>
                <a:gd name="T1" fmla="*/ 5 h 8"/>
                <a:gd name="T2" fmla="*/ 46 w 50"/>
                <a:gd name="T3" fmla="*/ 8 h 8"/>
                <a:gd name="T4" fmla="*/ 3 w 50"/>
                <a:gd name="T5" fmla="*/ 8 h 8"/>
                <a:gd name="T6" fmla="*/ 0 w 50"/>
                <a:gd name="T7" fmla="*/ 5 h 8"/>
                <a:gd name="T8" fmla="*/ 0 w 50"/>
                <a:gd name="T9" fmla="*/ 3 h 8"/>
                <a:gd name="T10" fmla="*/ 3 w 50"/>
                <a:gd name="T11" fmla="*/ 0 h 8"/>
                <a:gd name="T12" fmla="*/ 46 w 50"/>
                <a:gd name="T13" fmla="*/ 0 h 8"/>
                <a:gd name="T14" fmla="*/ 50 w 50"/>
                <a:gd name="T15" fmla="*/ 3 h 8"/>
                <a:gd name="T16" fmla="*/ 50 w 50"/>
                <a:gd name="T17" fmla="*/ 5 h 8"/>
                <a:gd name="T18" fmla="*/ 50 w 50"/>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8">
                  <a:moveTo>
                    <a:pt x="50" y="5"/>
                  </a:moveTo>
                  <a:cubicBezTo>
                    <a:pt x="50" y="7"/>
                    <a:pt x="49" y="8"/>
                    <a:pt x="46" y="8"/>
                  </a:cubicBezTo>
                  <a:cubicBezTo>
                    <a:pt x="3" y="8"/>
                    <a:pt x="3" y="8"/>
                    <a:pt x="3" y="8"/>
                  </a:cubicBezTo>
                  <a:cubicBezTo>
                    <a:pt x="1" y="8"/>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 name="Freeform 118">
              <a:extLst>
                <a:ext uri="{FF2B5EF4-FFF2-40B4-BE49-F238E27FC236}">
                  <a16:creationId xmlns:a16="http://schemas.microsoft.com/office/drawing/2014/main" id="{54AF73A3-9D21-0626-51F6-F0AB8B977221}"/>
                </a:ext>
              </a:extLst>
            </p:cNvPr>
            <p:cNvSpPr>
              <a:spLocks/>
            </p:cNvSpPr>
            <p:nvPr/>
          </p:nvSpPr>
          <p:spPr bwMode="auto">
            <a:xfrm>
              <a:off x="6022898" y="2435587"/>
              <a:ext cx="146300" cy="32162"/>
            </a:xfrm>
            <a:custGeom>
              <a:avLst/>
              <a:gdLst>
                <a:gd name="T0" fmla="*/ 50 w 50"/>
                <a:gd name="T1" fmla="*/ 7 h 10"/>
                <a:gd name="T2" fmla="*/ 46 w 50"/>
                <a:gd name="T3" fmla="*/ 10 h 10"/>
                <a:gd name="T4" fmla="*/ 3 w 50"/>
                <a:gd name="T5" fmla="*/ 10 h 10"/>
                <a:gd name="T6" fmla="*/ 0 w 50"/>
                <a:gd name="T7" fmla="*/ 7 h 10"/>
                <a:gd name="T8" fmla="*/ 0 w 50"/>
                <a:gd name="T9" fmla="*/ 5 h 10"/>
                <a:gd name="T10" fmla="*/ 3 w 50"/>
                <a:gd name="T11" fmla="*/ 0 h 10"/>
                <a:gd name="T12" fmla="*/ 46 w 50"/>
                <a:gd name="T13" fmla="*/ 0 h 10"/>
                <a:gd name="T14" fmla="*/ 50 w 50"/>
                <a:gd name="T15" fmla="*/ 5 h 10"/>
                <a:gd name="T16" fmla="*/ 50 w 50"/>
                <a:gd name="T17" fmla="*/ 7 h 10"/>
                <a:gd name="T18" fmla="*/ 50 w 50"/>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0">
                  <a:moveTo>
                    <a:pt x="50" y="7"/>
                  </a:moveTo>
                  <a:cubicBezTo>
                    <a:pt x="50" y="9"/>
                    <a:pt x="49" y="10"/>
                    <a:pt x="46" y="10"/>
                  </a:cubicBezTo>
                  <a:cubicBezTo>
                    <a:pt x="3" y="10"/>
                    <a:pt x="3" y="10"/>
                    <a:pt x="3" y="10"/>
                  </a:cubicBezTo>
                  <a:cubicBezTo>
                    <a:pt x="1" y="10"/>
                    <a:pt x="0" y="9"/>
                    <a:pt x="0" y="7"/>
                  </a:cubicBezTo>
                  <a:cubicBezTo>
                    <a:pt x="0" y="5"/>
                    <a:pt x="0" y="5"/>
                    <a:pt x="0" y="5"/>
                  </a:cubicBezTo>
                  <a:cubicBezTo>
                    <a:pt x="0" y="3"/>
                    <a:pt x="1" y="0"/>
                    <a:pt x="3" y="0"/>
                  </a:cubicBezTo>
                  <a:cubicBezTo>
                    <a:pt x="46" y="0"/>
                    <a:pt x="46" y="0"/>
                    <a:pt x="46" y="0"/>
                  </a:cubicBezTo>
                  <a:cubicBezTo>
                    <a:pt x="49" y="0"/>
                    <a:pt x="50" y="3"/>
                    <a:pt x="50" y="5"/>
                  </a:cubicBezTo>
                  <a:cubicBezTo>
                    <a:pt x="50" y="7"/>
                    <a:pt x="50" y="7"/>
                    <a:pt x="50" y="7"/>
                  </a:cubicBezTo>
                  <a:cubicBezTo>
                    <a:pt x="50" y="7"/>
                    <a:pt x="50" y="7"/>
                    <a:pt x="50" y="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7" name="Freeform 119">
              <a:extLst>
                <a:ext uri="{FF2B5EF4-FFF2-40B4-BE49-F238E27FC236}">
                  <a16:creationId xmlns:a16="http://schemas.microsoft.com/office/drawing/2014/main" id="{4AC6CDC3-74D6-C6A0-E251-7964CBAD358F}"/>
                </a:ext>
              </a:extLst>
            </p:cNvPr>
            <p:cNvSpPr>
              <a:spLocks/>
            </p:cNvSpPr>
            <p:nvPr/>
          </p:nvSpPr>
          <p:spPr bwMode="auto">
            <a:xfrm>
              <a:off x="5916623" y="1916603"/>
              <a:ext cx="358850" cy="415188"/>
            </a:xfrm>
            <a:custGeom>
              <a:avLst/>
              <a:gdLst>
                <a:gd name="T0" fmla="*/ 121 w 122"/>
                <a:gd name="T1" fmla="*/ 60 h 132"/>
                <a:gd name="T2" fmla="*/ 121 w 122"/>
                <a:gd name="T3" fmla="*/ 60 h 132"/>
                <a:gd name="T4" fmla="*/ 61 w 122"/>
                <a:gd name="T5" fmla="*/ 0 h 132"/>
                <a:gd name="T6" fmla="*/ 1 w 122"/>
                <a:gd name="T7" fmla="*/ 60 h 132"/>
                <a:gd name="T8" fmla="*/ 18 w 122"/>
                <a:gd name="T9" fmla="*/ 104 h 132"/>
                <a:gd name="T10" fmla="*/ 36 w 122"/>
                <a:gd name="T11" fmla="*/ 132 h 132"/>
                <a:gd name="T12" fmla="*/ 61 w 122"/>
                <a:gd name="T13" fmla="*/ 132 h 132"/>
                <a:gd name="T14" fmla="*/ 86 w 122"/>
                <a:gd name="T15" fmla="*/ 132 h 132"/>
                <a:gd name="T16" fmla="*/ 104 w 122"/>
                <a:gd name="T17" fmla="*/ 104 h 132"/>
                <a:gd name="T18" fmla="*/ 121 w 122"/>
                <a:gd name="T19" fmla="*/ 6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2">
                  <a:moveTo>
                    <a:pt x="121" y="60"/>
                  </a:moveTo>
                  <a:cubicBezTo>
                    <a:pt x="121" y="60"/>
                    <a:pt x="121" y="60"/>
                    <a:pt x="121" y="60"/>
                  </a:cubicBezTo>
                  <a:cubicBezTo>
                    <a:pt x="121" y="27"/>
                    <a:pt x="94" y="0"/>
                    <a:pt x="61" y="0"/>
                  </a:cubicBezTo>
                  <a:cubicBezTo>
                    <a:pt x="28" y="0"/>
                    <a:pt x="1" y="27"/>
                    <a:pt x="1" y="60"/>
                  </a:cubicBezTo>
                  <a:cubicBezTo>
                    <a:pt x="1" y="60"/>
                    <a:pt x="0" y="85"/>
                    <a:pt x="18" y="104"/>
                  </a:cubicBezTo>
                  <a:cubicBezTo>
                    <a:pt x="37" y="122"/>
                    <a:pt x="36" y="132"/>
                    <a:pt x="36" y="132"/>
                  </a:cubicBezTo>
                  <a:cubicBezTo>
                    <a:pt x="61" y="132"/>
                    <a:pt x="61" y="132"/>
                    <a:pt x="61" y="132"/>
                  </a:cubicBezTo>
                  <a:cubicBezTo>
                    <a:pt x="86" y="132"/>
                    <a:pt x="86" y="132"/>
                    <a:pt x="86" y="132"/>
                  </a:cubicBezTo>
                  <a:cubicBezTo>
                    <a:pt x="86" y="132"/>
                    <a:pt x="86" y="122"/>
                    <a:pt x="104" y="104"/>
                  </a:cubicBezTo>
                  <a:cubicBezTo>
                    <a:pt x="122" y="85"/>
                    <a:pt x="121" y="60"/>
                    <a:pt x="121" y="6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18" name="Line 120">
              <a:extLst>
                <a:ext uri="{FF2B5EF4-FFF2-40B4-BE49-F238E27FC236}">
                  <a16:creationId xmlns:a16="http://schemas.microsoft.com/office/drawing/2014/main" id="{A8F2160E-A913-38B2-ACD9-6A5997E9FD54}"/>
                </a:ext>
              </a:extLst>
            </p:cNvPr>
            <p:cNvSpPr>
              <a:spLocks noChangeShapeType="1"/>
            </p:cNvSpPr>
            <p:nvPr/>
          </p:nvSpPr>
          <p:spPr bwMode="auto">
            <a:xfrm>
              <a:off x="6096048" y="2334715"/>
              <a:ext cx="0" cy="0"/>
            </a:xfrm>
            <a:prstGeom prst="line">
              <a:avLst/>
            </a:prstGeom>
            <a:solidFill>
              <a:schemeClr val="bg1"/>
            </a:solidFill>
            <a:ln w="3175" cap="flat">
              <a:solidFill>
                <a:srgbClr val="231F2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 name="Freeform 121">
              <a:extLst>
                <a:ext uri="{FF2B5EF4-FFF2-40B4-BE49-F238E27FC236}">
                  <a16:creationId xmlns:a16="http://schemas.microsoft.com/office/drawing/2014/main" id="{82D5F9CB-1FE5-E7FA-7988-8B254252999B}"/>
                </a:ext>
              </a:extLst>
            </p:cNvPr>
            <p:cNvSpPr>
              <a:spLocks noEditPoints="1"/>
            </p:cNvSpPr>
            <p:nvPr/>
          </p:nvSpPr>
          <p:spPr bwMode="auto">
            <a:xfrm>
              <a:off x="6004955" y="2121273"/>
              <a:ext cx="182185" cy="210518"/>
            </a:xfrm>
            <a:custGeom>
              <a:avLst/>
              <a:gdLst>
                <a:gd name="T0" fmla="*/ 48 w 62"/>
                <a:gd name="T1" fmla="*/ 0 h 67"/>
                <a:gd name="T2" fmla="*/ 31 w 62"/>
                <a:gd name="T3" fmla="*/ 10 h 67"/>
                <a:gd name="T4" fmla="*/ 13 w 62"/>
                <a:gd name="T5" fmla="*/ 0 h 67"/>
                <a:gd name="T6" fmla="*/ 0 w 62"/>
                <a:gd name="T7" fmla="*/ 14 h 67"/>
                <a:gd name="T8" fmla="*/ 13 w 62"/>
                <a:gd name="T9" fmla="*/ 28 h 67"/>
                <a:gd name="T10" fmla="*/ 13 w 62"/>
                <a:gd name="T11" fmla="*/ 28 h 67"/>
                <a:gd name="T12" fmla="*/ 21 w 62"/>
                <a:gd name="T13" fmla="*/ 26 h 67"/>
                <a:gd name="T14" fmla="*/ 21 w 62"/>
                <a:gd name="T15" fmla="*/ 67 h 67"/>
                <a:gd name="T16" fmla="*/ 26 w 62"/>
                <a:gd name="T17" fmla="*/ 67 h 67"/>
                <a:gd name="T18" fmla="*/ 26 w 62"/>
                <a:gd name="T19" fmla="*/ 23 h 67"/>
                <a:gd name="T20" fmla="*/ 31 w 62"/>
                <a:gd name="T21" fmla="*/ 18 h 67"/>
                <a:gd name="T22" fmla="*/ 36 w 62"/>
                <a:gd name="T23" fmla="*/ 23 h 67"/>
                <a:gd name="T24" fmla="*/ 36 w 62"/>
                <a:gd name="T25" fmla="*/ 67 h 67"/>
                <a:gd name="T26" fmla="*/ 41 w 62"/>
                <a:gd name="T27" fmla="*/ 67 h 67"/>
                <a:gd name="T28" fmla="*/ 41 w 62"/>
                <a:gd name="T29" fmla="*/ 26 h 67"/>
                <a:gd name="T30" fmla="*/ 48 w 62"/>
                <a:gd name="T31" fmla="*/ 28 h 67"/>
                <a:gd name="T32" fmla="*/ 49 w 62"/>
                <a:gd name="T33" fmla="*/ 28 h 67"/>
                <a:gd name="T34" fmla="*/ 58 w 62"/>
                <a:gd name="T35" fmla="*/ 24 h 67"/>
                <a:gd name="T36" fmla="*/ 62 w 62"/>
                <a:gd name="T37" fmla="*/ 14 h 67"/>
                <a:gd name="T38" fmla="*/ 48 w 62"/>
                <a:gd name="T39" fmla="*/ 0 h 67"/>
                <a:gd name="T40" fmla="*/ 13 w 62"/>
                <a:gd name="T41" fmla="*/ 23 h 67"/>
                <a:gd name="T42" fmla="*/ 13 w 62"/>
                <a:gd name="T43" fmla="*/ 23 h 67"/>
                <a:gd name="T44" fmla="*/ 4 w 62"/>
                <a:gd name="T45" fmla="*/ 14 h 67"/>
                <a:gd name="T46" fmla="*/ 13 w 62"/>
                <a:gd name="T47" fmla="*/ 6 h 67"/>
                <a:gd name="T48" fmla="*/ 28 w 62"/>
                <a:gd name="T49" fmla="*/ 14 h 67"/>
                <a:gd name="T50" fmla="*/ 13 w 62"/>
                <a:gd name="T51" fmla="*/ 23 h 67"/>
                <a:gd name="T52" fmla="*/ 54 w 62"/>
                <a:gd name="T53" fmla="*/ 20 h 67"/>
                <a:gd name="T54" fmla="*/ 49 w 62"/>
                <a:gd name="T55" fmla="*/ 23 h 67"/>
                <a:gd name="T56" fmla="*/ 48 w 62"/>
                <a:gd name="T57" fmla="*/ 23 h 67"/>
                <a:gd name="T58" fmla="*/ 34 w 62"/>
                <a:gd name="T59" fmla="*/ 14 h 67"/>
                <a:gd name="T60" fmla="*/ 48 w 62"/>
                <a:gd name="T61" fmla="*/ 6 h 67"/>
                <a:gd name="T62" fmla="*/ 57 w 62"/>
                <a:gd name="T63" fmla="*/ 14 h 67"/>
                <a:gd name="T64" fmla="*/ 54 w 62"/>
                <a:gd name="T65" fmla="*/ 2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67">
                  <a:moveTo>
                    <a:pt x="48" y="0"/>
                  </a:moveTo>
                  <a:cubicBezTo>
                    <a:pt x="48" y="0"/>
                    <a:pt x="39" y="0"/>
                    <a:pt x="31" y="10"/>
                  </a:cubicBezTo>
                  <a:cubicBezTo>
                    <a:pt x="22" y="0"/>
                    <a:pt x="14" y="0"/>
                    <a:pt x="13" y="0"/>
                  </a:cubicBezTo>
                  <a:cubicBezTo>
                    <a:pt x="6" y="0"/>
                    <a:pt x="0" y="7"/>
                    <a:pt x="0" y="14"/>
                  </a:cubicBezTo>
                  <a:cubicBezTo>
                    <a:pt x="0" y="22"/>
                    <a:pt x="6" y="28"/>
                    <a:pt x="13" y="28"/>
                  </a:cubicBezTo>
                  <a:cubicBezTo>
                    <a:pt x="13" y="28"/>
                    <a:pt x="13" y="28"/>
                    <a:pt x="13" y="28"/>
                  </a:cubicBezTo>
                  <a:cubicBezTo>
                    <a:pt x="16" y="28"/>
                    <a:pt x="19" y="28"/>
                    <a:pt x="21" y="26"/>
                  </a:cubicBezTo>
                  <a:cubicBezTo>
                    <a:pt x="21" y="67"/>
                    <a:pt x="21" y="67"/>
                    <a:pt x="21" y="67"/>
                  </a:cubicBezTo>
                  <a:cubicBezTo>
                    <a:pt x="26" y="67"/>
                    <a:pt x="26" y="67"/>
                    <a:pt x="26" y="67"/>
                  </a:cubicBezTo>
                  <a:cubicBezTo>
                    <a:pt x="26" y="23"/>
                    <a:pt x="26" y="23"/>
                    <a:pt x="26" y="23"/>
                  </a:cubicBezTo>
                  <a:cubicBezTo>
                    <a:pt x="28" y="22"/>
                    <a:pt x="30" y="20"/>
                    <a:pt x="31" y="18"/>
                  </a:cubicBezTo>
                  <a:cubicBezTo>
                    <a:pt x="32" y="20"/>
                    <a:pt x="34" y="22"/>
                    <a:pt x="36" y="23"/>
                  </a:cubicBezTo>
                  <a:cubicBezTo>
                    <a:pt x="36" y="67"/>
                    <a:pt x="36" y="67"/>
                    <a:pt x="36" y="67"/>
                  </a:cubicBezTo>
                  <a:cubicBezTo>
                    <a:pt x="41" y="67"/>
                    <a:pt x="41" y="67"/>
                    <a:pt x="41" y="67"/>
                  </a:cubicBezTo>
                  <a:cubicBezTo>
                    <a:pt x="41" y="26"/>
                    <a:pt x="41" y="26"/>
                    <a:pt x="41" y="26"/>
                  </a:cubicBezTo>
                  <a:cubicBezTo>
                    <a:pt x="43" y="28"/>
                    <a:pt x="45" y="28"/>
                    <a:pt x="48" y="28"/>
                  </a:cubicBezTo>
                  <a:cubicBezTo>
                    <a:pt x="49" y="28"/>
                    <a:pt x="49" y="28"/>
                    <a:pt x="49" y="28"/>
                  </a:cubicBezTo>
                  <a:cubicBezTo>
                    <a:pt x="52" y="28"/>
                    <a:pt x="56" y="27"/>
                    <a:pt x="58" y="24"/>
                  </a:cubicBezTo>
                  <a:cubicBezTo>
                    <a:pt x="61" y="22"/>
                    <a:pt x="62" y="18"/>
                    <a:pt x="62" y="14"/>
                  </a:cubicBezTo>
                  <a:cubicBezTo>
                    <a:pt x="62" y="7"/>
                    <a:pt x="56" y="0"/>
                    <a:pt x="48" y="0"/>
                  </a:cubicBezTo>
                  <a:close/>
                  <a:moveTo>
                    <a:pt x="13" y="23"/>
                  </a:moveTo>
                  <a:cubicBezTo>
                    <a:pt x="13" y="23"/>
                    <a:pt x="13" y="23"/>
                    <a:pt x="13" y="23"/>
                  </a:cubicBezTo>
                  <a:cubicBezTo>
                    <a:pt x="9" y="23"/>
                    <a:pt x="4" y="19"/>
                    <a:pt x="4" y="14"/>
                  </a:cubicBezTo>
                  <a:cubicBezTo>
                    <a:pt x="4" y="9"/>
                    <a:pt x="9" y="6"/>
                    <a:pt x="13" y="6"/>
                  </a:cubicBezTo>
                  <a:cubicBezTo>
                    <a:pt x="14" y="6"/>
                    <a:pt x="21" y="6"/>
                    <a:pt x="28" y="14"/>
                  </a:cubicBezTo>
                  <a:cubicBezTo>
                    <a:pt x="26" y="17"/>
                    <a:pt x="20" y="23"/>
                    <a:pt x="13" y="23"/>
                  </a:cubicBezTo>
                  <a:close/>
                  <a:moveTo>
                    <a:pt x="54" y="20"/>
                  </a:moveTo>
                  <a:cubicBezTo>
                    <a:pt x="53" y="22"/>
                    <a:pt x="51" y="23"/>
                    <a:pt x="49" y="23"/>
                  </a:cubicBezTo>
                  <a:cubicBezTo>
                    <a:pt x="48" y="23"/>
                    <a:pt x="48" y="23"/>
                    <a:pt x="48" y="23"/>
                  </a:cubicBezTo>
                  <a:cubicBezTo>
                    <a:pt x="42" y="23"/>
                    <a:pt x="36" y="17"/>
                    <a:pt x="34" y="14"/>
                  </a:cubicBezTo>
                  <a:cubicBezTo>
                    <a:pt x="41" y="6"/>
                    <a:pt x="48" y="6"/>
                    <a:pt x="48" y="6"/>
                  </a:cubicBezTo>
                  <a:cubicBezTo>
                    <a:pt x="53" y="6"/>
                    <a:pt x="57" y="9"/>
                    <a:pt x="57" y="14"/>
                  </a:cubicBezTo>
                  <a:cubicBezTo>
                    <a:pt x="57" y="17"/>
                    <a:pt x="56" y="19"/>
                    <a:pt x="54" y="20"/>
                  </a:cubicBezTo>
                  <a:close/>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grpSp>
      <p:grpSp>
        <p:nvGrpSpPr>
          <p:cNvPr id="29" name="Group 28">
            <a:extLst>
              <a:ext uri="{FF2B5EF4-FFF2-40B4-BE49-F238E27FC236}">
                <a16:creationId xmlns:a16="http://schemas.microsoft.com/office/drawing/2014/main" id="{07B73579-166F-5726-FFFD-8EA9EFFE083A}"/>
              </a:ext>
            </a:extLst>
          </p:cNvPr>
          <p:cNvGrpSpPr/>
          <p:nvPr/>
        </p:nvGrpSpPr>
        <p:grpSpPr>
          <a:xfrm>
            <a:off x="7475307" y="4471593"/>
            <a:ext cx="416595" cy="614333"/>
            <a:chOff x="7480352" y="4683708"/>
            <a:chExt cx="416595" cy="614333"/>
          </a:xfrm>
        </p:grpSpPr>
        <p:sp>
          <p:nvSpPr>
            <p:cNvPr id="20" name="Freeform 118">
              <a:extLst>
                <a:ext uri="{FF2B5EF4-FFF2-40B4-BE49-F238E27FC236}">
                  <a16:creationId xmlns:a16="http://schemas.microsoft.com/office/drawing/2014/main" id="{6834AE9F-09F2-4CA5-A7B0-3165A20BCBD5}"/>
                </a:ext>
              </a:extLst>
            </p:cNvPr>
            <p:cNvSpPr>
              <a:spLocks/>
            </p:cNvSpPr>
            <p:nvPr/>
          </p:nvSpPr>
          <p:spPr bwMode="auto">
            <a:xfrm>
              <a:off x="7480352" y="4683708"/>
              <a:ext cx="416595" cy="614333"/>
            </a:xfrm>
            <a:custGeom>
              <a:avLst/>
              <a:gdLst>
                <a:gd name="T0" fmla="*/ 217 w 217"/>
                <a:gd name="T1" fmla="*/ 109 h 320"/>
                <a:gd name="T2" fmla="*/ 217 w 217"/>
                <a:gd name="T3" fmla="*/ 88 h 320"/>
                <a:gd name="T4" fmla="*/ 210 w 217"/>
                <a:gd name="T5" fmla="*/ 67 h 320"/>
                <a:gd name="T6" fmla="*/ 200 w 217"/>
                <a:gd name="T7" fmla="*/ 50 h 320"/>
                <a:gd name="T8" fmla="*/ 186 w 217"/>
                <a:gd name="T9" fmla="*/ 33 h 320"/>
                <a:gd name="T10" fmla="*/ 170 w 217"/>
                <a:gd name="T11" fmla="*/ 19 h 320"/>
                <a:gd name="T12" fmla="*/ 151 w 217"/>
                <a:gd name="T13" fmla="*/ 10 h 320"/>
                <a:gd name="T14" fmla="*/ 130 w 217"/>
                <a:gd name="T15" fmla="*/ 3 h 320"/>
                <a:gd name="T16" fmla="*/ 108 w 217"/>
                <a:gd name="T17" fmla="*/ 0 h 320"/>
                <a:gd name="T18" fmla="*/ 87 w 217"/>
                <a:gd name="T19" fmla="*/ 3 h 320"/>
                <a:gd name="T20" fmla="*/ 68 w 217"/>
                <a:gd name="T21" fmla="*/ 10 h 320"/>
                <a:gd name="T22" fmla="*/ 49 w 217"/>
                <a:gd name="T23" fmla="*/ 19 h 320"/>
                <a:gd name="T24" fmla="*/ 33 w 217"/>
                <a:gd name="T25" fmla="*/ 33 h 320"/>
                <a:gd name="T26" fmla="*/ 18 w 217"/>
                <a:gd name="T27" fmla="*/ 50 h 320"/>
                <a:gd name="T28" fmla="*/ 9 w 217"/>
                <a:gd name="T29" fmla="*/ 67 h 320"/>
                <a:gd name="T30" fmla="*/ 2 w 217"/>
                <a:gd name="T31" fmla="*/ 88 h 320"/>
                <a:gd name="T32" fmla="*/ 0 w 217"/>
                <a:gd name="T33" fmla="*/ 109 h 320"/>
                <a:gd name="T34" fmla="*/ 2 w 217"/>
                <a:gd name="T35" fmla="*/ 130 h 320"/>
                <a:gd name="T36" fmla="*/ 9 w 217"/>
                <a:gd name="T37" fmla="*/ 152 h 320"/>
                <a:gd name="T38" fmla="*/ 18 w 217"/>
                <a:gd name="T39" fmla="*/ 171 h 320"/>
                <a:gd name="T40" fmla="*/ 33 w 217"/>
                <a:gd name="T41" fmla="*/ 185 h 320"/>
                <a:gd name="T42" fmla="*/ 49 w 217"/>
                <a:gd name="T43" fmla="*/ 199 h 320"/>
                <a:gd name="T44" fmla="*/ 68 w 217"/>
                <a:gd name="T45" fmla="*/ 209 h 320"/>
                <a:gd name="T46" fmla="*/ 49 w 217"/>
                <a:gd name="T47" fmla="*/ 265 h 320"/>
                <a:gd name="T48" fmla="*/ 92 w 217"/>
                <a:gd name="T49" fmla="*/ 277 h 320"/>
                <a:gd name="T50" fmla="*/ 139 w 217"/>
                <a:gd name="T51" fmla="*/ 320 h 320"/>
                <a:gd name="T52" fmla="*/ 189 w 217"/>
                <a:gd name="T53" fmla="*/ 313 h 320"/>
                <a:gd name="T54" fmla="*/ 156 w 217"/>
                <a:gd name="T55" fmla="*/ 190 h 320"/>
                <a:gd name="T56" fmla="*/ 165 w 217"/>
                <a:gd name="T57" fmla="*/ 178 h 320"/>
                <a:gd name="T58" fmla="*/ 179 w 217"/>
                <a:gd name="T59" fmla="*/ 166 h 320"/>
                <a:gd name="T60" fmla="*/ 189 w 217"/>
                <a:gd name="T61" fmla="*/ 152 h 320"/>
                <a:gd name="T62" fmla="*/ 196 w 217"/>
                <a:gd name="T63" fmla="*/ 135 h 320"/>
                <a:gd name="T64" fmla="*/ 198 w 217"/>
                <a:gd name="T65" fmla="*/ 11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320">
                  <a:moveTo>
                    <a:pt x="198" y="119"/>
                  </a:moveTo>
                  <a:lnTo>
                    <a:pt x="217" y="109"/>
                  </a:lnTo>
                  <a:lnTo>
                    <a:pt x="198" y="100"/>
                  </a:lnTo>
                  <a:lnTo>
                    <a:pt x="217" y="88"/>
                  </a:lnTo>
                  <a:lnTo>
                    <a:pt x="196" y="83"/>
                  </a:lnTo>
                  <a:lnTo>
                    <a:pt x="210" y="67"/>
                  </a:lnTo>
                  <a:lnTo>
                    <a:pt x="189" y="67"/>
                  </a:lnTo>
                  <a:lnTo>
                    <a:pt x="200" y="50"/>
                  </a:lnTo>
                  <a:lnTo>
                    <a:pt x="179" y="52"/>
                  </a:lnTo>
                  <a:lnTo>
                    <a:pt x="186" y="33"/>
                  </a:lnTo>
                  <a:lnTo>
                    <a:pt x="165" y="38"/>
                  </a:lnTo>
                  <a:lnTo>
                    <a:pt x="170" y="19"/>
                  </a:lnTo>
                  <a:lnTo>
                    <a:pt x="151" y="29"/>
                  </a:lnTo>
                  <a:lnTo>
                    <a:pt x="151" y="10"/>
                  </a:lnTo>
                  <a:lnTo>
                    <a:pt x="137" y="24"/>
                  </a:lnTo>
                  <a:lnTo>
                    <a:pt x="130" y="3"/>
                  </a:lnTo>
                  <a:lnTo>
                    <a:pt x="118" y="19"/>
                  </a:lnTo>
                  <a:lnTo>
                    <a:pt x="108" y="0"/>
                  </a:lnTo>
                  <a:lnTo>
                    <a:pt x="101" y="19"/>
                  </a:lnTo>
                  <a:lnTo>
                    <a:pt x="87" y="3"/>
                  </a:lnTo>
                  <a:lnTo>
                    <a:pt x="82" y="24"/>
                  </a:lnTo>
                  <a:lnTo>
                    <a:pt x="68" y="10"/>
                  </a:lnTo>
                  <a:lnTo>
                    <a:pt x="66" y="29"/>
                  </a:lnTo>
                  <a:lnTo>
                    <a:pt x="49" y="19"/>
                  </a:lnTo>
                  <a:lnTo>
                    <a:pt x="52" y="40"/>
                  </a:lnTo>
                  <a:lnTo>
                    <a:pt x="33" y="33"/>
                  </a:lnTo>
                  <a:lnTo>
                    <a:pt x="40" y="52"/>
                  </a:lnTo>
                  <a:lnTo>
                    <a:pt x="18" y="50"/>
                  </a:lnTo>
                  <a:lnTo>
                    <a:pt x="30" y="67"/>
                  </a:lnTo>
                  <a:lnTo>
                    <a:pt x="9" y="67"/>
                  </a:lnTo>
                  <a:lnTo>
                    <a:pt x="23" y="83"/>
                  </a:lnTo>
                  <a:lnTo>
                    <a:pt x="2" y="88"/>
                  </a:lnTo>
                  <a:lnTo>
                    <a:pt x="18" y="100"/>
                  </a:lnTo>
                  <a:lnTo>
                    <a:pt x="0" y="109"/>
                  </a:lnTo>
                  <a:lnTo>
                    <a:pt x="18" y="119"/>
                  </a:lnTo>
                  <a:lnTo>
                    <a:pt x="2" y="130"/>
                  </a:lnTo>
                  <a:lnTo>
                    <a:pt x="23" y="135"/>
                  </a:lnTo>
                  <a:lnTo>
                    <a:pt x="9" y="152"/>
                  </a:lnTo>
                  <a:lnTo>
                    <a:pt x="30" y="152"/>
                  </a:lnTo>
                  <a:lnTo>
                    <a:pt x="18" y="171"/>
                  </a:lnTo>
                  <a:lnTo>
                    <a:pt x="40" y="166"/>
                  </a:lnTo>
                  <a:lnTo>
                    <a:pt x="33" y="185"/>
                  </a:lnTo>
                  <a:lnTo>
                    <a:pt x="52" y="178"/>
                  </a:lnTo>
                  <a:lnTo>
                    <a:pt x="49" y="199"/>
                  </a:lnTo>
                  <a:lnTo>
                    <a:pt x="66" y="190"/>
                  </a:lnTo>
                  <a:lnTo>
                    <a:pt x="68" y="209"/>
                  </a:lnTo>
                  <a:lnTo>
                    <a:pt x="82" y="194"/>
                  </a:lnTo>
                  <a:lnTo>
                    <a:pt x="49" y="265"/>
                  </a:lnTo>
                  <a:lnTo>
                    <a:pt x="80" y="246"/>
                  </a:lnTo>
                  <a:lnTo>
                    <a:pt x="92" y="277"/>
                  </a:lnTo>
                  <a:lnTo>
                    <a:pt x="115" y="232"/>
                  </a:lnTo>
                  <a:lnTo>
                    <a:pt x="139" y="320"/>
                  </a:lnTo>
                  <a:lnTo>
                    <a:pt x="153" y="280"/>
                  </a:lnTo>
                  <a:lnTo>
                    <a:pt x="189" y="313"/>
                  </a:lnTo>
                  <a:lnTo>
                    <a:pt x="156" y="197"/>
                  </a:lnTo>
                  <a:lnTo>
                    <a:pt x="156" y="190"/>
                  </a:lnTo>
                  <a:lnTo>
                    <a:pt x="170" y="199"/>
                  </a:lnTo>
                  <a:lnTo>
                    <a:pt x="165" y="178"/>
                  </a:lnTo>
                  <a:lnTo>
                    <a:pt x="186" y="185"/>
                  </a:lnTo>
                  <a:lnTo>
                    <a:pt x="179" y="166"/>
                  </a:lnTo>
                  <a:lnTo>
                    <a:pt x="200" y="168"/>
                  </a:lnTo>
                  <a:lnTo>
                    <a:pt x="189" y="152"/>
                  </a:lnTo>
                  <a:lnTo>
                    <a:pt x="210" y="152"/>
                  </a:lnTo>
                  <a:lnTo>
                    <a:pt x="196" y="135"/>
                  </a:lnTo>
                  <a:lnTo>
                    <a:pt x="217" y="130"/>
                  </a:lnTo>
                  <a:lnTo>
                    <a:pt x="198" y="11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1" name="Freeform 119">
              <a:extLst>
                <a:ext uri="{FF2B5EF4-FFF2-40B4-BE49-F238E27FC236}">
                  <a16:creationId xmlns:a16="http://schemas.microsoft.com/office/drawing/2014/main" id="{5690238B-7329-F450-24CF-356CE7EE1B79}"/>
                </a:ext>
              </a:extLst>
            </p:cNvPr>
            <p:cNvSpPr>
              <a:spLocks/>
            </p:cNvSpPr>
            <p:nvPr/>
          </p:nvSpPr>
          <p:spPr bwMode="auto">
            <a:xfrm>
              <a:off x="7560983" y="4766258"/>
              <a:ext cx="259172" cy="253412"/>
            </a:xfrm>
            <a:custGeom>
              <a:avLst/>
              <a:gdLst>
                <a:gd name="T0" fmla="*/ 0 w 57"/>
                <a:gd name="T1" fmla="*/ 28 h 56"/>
                <a:gd name="T2" fmla="*/ 28 w 57"/>
                <a:gd name="T3" fmla="*/ 0 h 56"/>
                <a:gd name="T4" fmla="*/ 28 w 57"/>
                <a:gd name="T5" fmla="*/ 0 h 56"/>
                <a:gd name="T6" fmla="*/ 28 w 57"/>
                <a:gd name="T7" fmla="*/ 0 h 56"/>
                <a:gd name="T8" fmla="*/ 57 w 57"/>
                <a:gd name="T9" fmla="*/ 28 h 56"/>
                <a:gd name="T10" fmla="*/ 57 w 57"/>
                <a:gd name="T11" fmla="*/ 28 h 56"/>
                <a:gd name="T12" fmla="*/ 57 w 57"/>
                <a:gd name="T13" fmla="*/ 28 h 56"/>
                <a:gd name="T14" fmla="*/ 28 w 57"/>
                <a:gd name="T15" fmla="*/ 56 h 56"/>
                <a:gd name="T16" fmla="*/ 28 w 57"/>
                <a:gd name="T17" fmla="*/ 56 h 56"/>
                <a:gd name="T18" fmla="*/ 28 w 57"/>
                <a:gd name="T19" fmla="*/ 56 h 56"/>
                <a:gd name="T20" fmla="*/ 0 w 57"/>
                <a:gd name="T21" fmla="*/ 28 h 56"/>
                <a:gd name="T22" fmla="*/ 0 w 57"/>
                <a:gd name="T23"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56">
                  <a:moveTo>
                    <a:pt x="0" y="28"/>
                  </a:moveTo>
                  <a:cubicBezTo>
                    <a:pt x="0" y="12"/>
                    <a:pt x="13" y="0"/>
                    <a:pt x="28" y="0"/>
                  </a:cubicBezTo>
                  <a:cubicBezTo>
                    <a:pt x="28" y="0"/>
                    <a:pt x="28" y="0"/>
                    <a:pt x="28" y="0"/>
                  </a:cubicBezTo>
                  <a:cubicBezTo>
                    <a:pt x="28" y="0"/>
                    <a:pt x="28" y="0"/>
                    <a:pt x="28" y="0"/>
                  </a:cubicBezTo>
                  <a:cubicBezTo>
                    <a:pt x="44" y="0"/>
                    <a:pt x="57" y="12"/>
                    <a:pt x="57" y="28"/>
                  </a:cubicBezTo>
                  <a:cubicBezTo>
                    <a:pt x="57" y="28"/>
                    <a:pt x="57" y="28"/>
                    <a:pt x="57" y="28"/>
                  </a:cubicBezTo>
                  <a:cubicBezTo>
                    <a:pt x="57" y="28"/>
                    <a:pt x="57" y="28"/>
                    <a:pt x="57" y="28"/>
                  </a:cubicBezTo>
                  <a:cubicBezTo>
                    <a:pt x="57" y="43"/>
                    <a:pt x="44" y="56"/>
                    <a:pt x="28" y="56"/>
                  </a:cubicBezTo>
                  <a:cubicBezTo>
                    <a:pt x="28" y="56"/>
                    <a:pt x="28" y="56"/>
                    <a:pt x="28" y="56"/>
                  </a:cubicBezTo>
                  <a:cubicBezTo>
                    <a:pt x="28" y="56"/>
                    <a:pt x="28" y="56"/>
                    <a:pt x="28" y="56"/>
                  </a:cubicBezTo>
                  <a:cubicBezTo>
                    <a:pt x="13" y="56"/>
                    <a:pt x="0" y="43"/>
                    <a:pt x="0" y="28"/>
                  </a:cubicBezTo>
                  <a:cubicBezTo>
                    <a:pt x="0" y="28"/>
                    <a:pt x="0" y="28"/>
                    <a:pt x="0" y="28"/>
                  </a:cubicBezTo>
                  <a:close/>
                </a:path>
              </a:pathLst>
            </a:custGeom>
            <a:solidFill>
              <a:srgbClr val="12ABD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41" name="Group 40">
            <a:extLst>
              <a:ext uri="{FF2B5EF4-FFF2-40B4-BE49-F238E27FC236}">
                <a16:creationId xmlns:a16="http://schemas.microsoft.com/office/drawing/2014/main" id="{9D338BCC-69D2-B91C-EC7E-0A807DB13554}"/>
              </a:ext>
            </a:extLst>
          </p:cNvPr>
          <p:cNvGrpSpPr/>
          <p:nvPr/>
        </p:nvGrpSpPr>
        <p:grpSpPr>
          <a:xfrm>
            <a:off x="4150090" y="4447281"/>
            <a:ext cx="537978" cy="563127"/>
            <a:chOff x="4863173" y="5542054"/>
            <a:chExt cx="423935" cy="443753"/>
          </a:xfrm>
        </p:grpSpPr>
        <p:sp>
          <p:nvSpPr>
            <p:cNvPr id="40" name="Oval 39">
              <a:extLst>
                <a:ext uri="{FF2B5EF4-FFF2-40B4-BE49-F238E27FC236}">
                  <a16:creationId xmlns:a16="http://schemas.microsoft.com/office/drawing/2014/main" id="{3DB29F13-66EB-5F2F-094A-C48F66CE62EE}"/>
                </a:ext>
              </a:extLst>
            </p:cNvPr>
            <p:cNvSpPr/>
            <p:nvPr/>
          </p:nvSpPr>
          <p:spPr>
            <a:xfrm>
              <a:off x="4864833" y="5554749"/>
              <a:ext cx="422275" cy="4222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nvGrpSpPr>
            <p:cNvPr id="31" name="Groupe 460">
              <a:extLst>
                <a:ext uri="{FF2B5EF4-FFF2-40B4-BE49-F238E27FC236}">
                  <a16:creationId xmlns:a16="http://schemas.microsoft.com/office/drawing/2014/main" id="{CB22B51D-D0D8-508B-AE69-F02A2F2D5F96}"/>
                </a:ext>
              </a:extLst>
            </p:cNvPr>
            <p:cNvGrpSpPr/>
            <p:nvPr/>
          </p:nvGrpSpPr>
          <p:grpSpPr>
            <a:xfrm>
              <a:off x="4863173" y="5542054"/>
              <a:ext cx="423935" cy="443753"/>
              <a:chOff x="8093074" y="2165348"/>
              <a:chExt cx="360363" cy="360363"/>
            </a:xfrm>
            <a:solidFill>
              <a:srgbClr val="12ABDB"/>
            </a:solidFill>
          </p:grpSpPr>
          <p:sp>
            <p:nvSpPr>
              <p:cNvPr id="32" name="Freeform 97">
                <a:extLst>
                  <a:ext uri="{FF2B5EF4-FFF2-40B4-BE49-F238E27FC236}">
                    <a16:creationId xmlns:a16="http://schemas.microsoft.com/office/drawing/2014/main" id="{365AF031-16A2-0C7C-FE0F-41FA23CC1A7E}"/>
                  </a:ext>
                </a:extLst>
              </p:cNvPr>
              <p:cNvSpPr>
                <a:spLocks noEditPoints="1"/>
              </p:cNvSpPr>
              <p:nvPr/>
            </p:nvSpPr>
            <p:spPr bwMode="auto">
              <a:xfrm>
                <a:off x="8093074" y="2165348"/>
                <a:ext cx="360363" cy="360363"/>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6 h 96"/>
                  <a:gd name="T12" fmla="*/ 6 w 96"/>
                  <a:gd name="T13" fmla="*/ 48 h 96"/>
                  <a:gd name="T14" fmla="*/ 48 w 96"/>
                  <a:gd name="T15" fmla="*/ 90 h 96"/>
                  <a:gd name="T16" fmla="*/ 90 w 96"/>
                  <a:gd name="T17" fmla="*/ 48 h 96"/>
                  <a:gd name="T18" fmla="*/ 48 w 96"/>
                  <a:gd name="T19" fmla="*/ 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5"/>
                      <a:pt x="0" y="48"/>
                    </a:cubicBezTo>
                    <a:cubicBezTo>
                      <a:pt x="0" y="22"/>
                      <a:pt x="21" y="0"/>
                      <a:pt x="48" y="0"/>
                    </a:cubicBezTo>
                    <a:cubicBezTo>
                      <a:pt x="74" y="0"/>
                      <a:pt x="96" y="22"/>
                      <a:pt x="96" y="48"/>
                    </a:cubicBezTo>
                    <a:cubicBezTo>
                      <a:pt x="96" y="75"/>
                      <a:pt x="74" y="96"/>
                      <a:pt x="48" y="96"/>
                    </a:cubicBezTo>
                    <a:close/>
                    <a:moveTo>
                      <a:pt x="48" y="6"/>
                    </a:moveTo>
                    <a:cubicBezTo>
                      <a:pt x="25" y="6"/>
                      <a:pt x="6" y="25"/>
                      <a:pt x="6" y="48"/>
                    </a:cubicBezTo>
                    <a:cubicBezTo>
                      <a:pt x="6" y="71"/>
                      <a:pt x="25" y="90"/>
                      <a:pt x="48" y="90"/>
                    </a:cubicBezTo>
                    <a:cubicBezTo>
                      <a:pt x="71" y="90"/>
                      <a:pt x="90" y="71"/>
                      <a:pt x="90" y="48"/>
                    </a:cubicBezTo>
                    <a:cubicBezTo>
                      <a:pt x="90" y="25"/>
                      <a:pt x="71" y="6"/>
                      <a:pt x="4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3" name="Rectangle 98">
                <a:extLst>
                  <a:ext uri="{FF2B5EF4-FFF2-40B4-BE49-F238E27FC236}">
                    <a16:creationId xmlns:a16="http://schemas.microsoft.com/office/drawing/2014/main" id="{6623494E-0D9C-FE7C-1220-B19C0C47357B}"/>
                  </a:ext>
                </a:extLst>
              </p:cNvPr>
              <p:cNvSpPr>
                <a:spLocks noChangeArrowheads="1"/>
              </p:cNvSpPr>
              <p:nvPr/>
            </p:nvSpPr>
            <p:spPr bwMode="auto">
              <a:xfrm>
                <a:off x="8264526" y="2187575"/>
                <a:ext cx="11113"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4" name="Rectangle 99">
                <a:extLst>
                  <a:ext uri="{FF2B5EF4-FFF2-40B4-BE49-F238E27FC236}">
                    <a16:creationId xmlns:a16="http://schemas.microsoft.com/office/drawing/2014/main" id="{E2533FE7-F844-957F-EC39-5255A1BD15BD}"/>
                  </a:ext>
                </a:extLst>
              </p:cNvPr>
              <p:cNvSpPr>
                <a:spLocks noChangeArrowheads="1"/>
              </p:cNvSpPr>
              <p:nvPr/>
            </p:nvSpPr>
            <p:spPr bwMode="auto">
              <a:xfrm>
                <a:off x="8264526" y="2470150"/>
                <a:ext cx="11113"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5" name="Rectangle 100">
                <a:extLst>
                  <a:ext uri="{FF2B5EF4-FFF2-40B4-BE49-F238E27FC236}">
                    <a16:creationId xmlns:a16="http://schemas.microsoft.com/office/drawing/2014/main" id="{6F4E4A41-BDC1-373D-1AE5-D25F092A7343}"/>
                  </a:ext>
                </a:extLst>
              </p:cNvPr>
              <p:cNvSpPr>
                <a:spLocks noChangeArrowheads="1"/>
              </p:cNvSpPr>
              <p:nvPr/>
            </p:nvSpPr>
            <p:spPr bwMode="auto">
              <a:xfrm>
                <a:off x="8396288" y="2341562"/>
                <a:ext cx="333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6" name="Rectangle 101">
                <a:extLst>
                  <a:ext uri="{FF2B5EF4-FFF2-40B4-BE49-F238E27FC236}">
                    <a16:creationId xmlns:a16="http://schemas.microsoft.com/office/drawing/2014/main" id="{43EB56DE-4768-5BDF-C520-0BE548851A76}"/>
                  </a:ext>
                </a:extLst>
              </p:cNvPr>
              <p:cNvSpPr>
                <a:spLocks noChangeArrowheads="1"/>
              </p:cNvSpPr>
              <p:nvPr/>
            </p:nvSpPr>
            <p:spPr bwMode="auto">
              <a:xfrm>
                <a:off x="8110538" y="2341562"/>
                <a:ext cx="349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7" name="Freeform 102">
                <a:extLst>
                  <a:ext uri="{FF2B5EF4-FFF2-40B4-BE49-F238E27FC236}">
                    <a16:creationId xmlns:a16="http://schemas.microsoft.com/office/drawing/2014/main" id="{B053C6EB-85A3-8152-43DD-607407704148}"/>
                  </a:ext>
                </a:extLst>
              </p:cNvPr>
              <p:cNvSpPr>
                <a:spLocks/>
              </p:cNvSpPr>
              <p:nvPr/>
            </p:nvSpPr>
            <p:spPr bwMode="auto">
              <a:xfrm>
                <a:off x="8201026" y="2297112"/>
                <a:ext cx="63500" cy="52388"/>
              </a:xfrm>
              <a:custGeom>
                <a:avLst/>
                <a:gdLst>
                  <a:gd name="T0" fmla="*/ 36 w 40"/>
                  <a:gd name="T1" fmla="*/ 33 h 33"/>
                  <a:gd name="T2" fmla="*/ 0 w 40"/>
                  <a:gd name="T3" fmla="*/ 4 h 33"/>
                  <a:gd name="T4" fmla="*/ 5 w 40"/>
                  <a:gd name="T5" fmla="*/ 0 h 33"/>
                  <a:gd name="T6" fmla="*/ 40 w 40"/>
                  <a:gd name="T7" fmla="*/ 26 h 33"/>
                  <a:gd name="T8" fmla="*/ 36 w 40"/>
                  <a:gd name="T9" fmla="*/ 33 h 33"/>
                </a:gdLst>
                <a:ahLst/>
                <a:cxnLst>
                  <a:cxn ang="0">
                    <a:pos x="T0" y="T1"/>
                  </a:cxn>
                  <a:cxn ang="0">
                    <a:pos x="T2" y="T3"/>
                  </a:cxn>
                  <a:cxn ang="0">
                    <a:pos x="T4" y="T5"/>
                  </a:cxn>
                  <a:cxn ang="0">
                    <a:pos x="T6" y="T7"/>
                  </a:cxn>
                  <a:cxn ang="0">
                    <a:pos x="T8" y="T9"/>
                  </a:cxn>
                </a:cxnLst>
                <a:rect l="0" t="0" r="r" b="b"/>
                <a:pathLst>
                  <a:path w="40" h="33">
                    <a:moveTo>
                      <a:pt x="36" y="33"/>
                    </a:moveTo>
                    <a:lnTo>
                      <a:pt x="0" y="4"/>
                    </a:lnTo>
                    <a:lnTo>
                      <a:pt x="5" y="0"/>
                    </a:lnTo>
                    <a:lnTo>
                      <a:pt x="40" y="26"/>
                    </a:lnTo>
                    <a:lnTo>
                      <a:pt x="3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8" name="Freeform 103">
                <a:extLst>
                  <a:ext uri="{FF2B5EF4-FFF2-40B4-BE49-F238E27FC236}">
                    <a16:creationId xmlns:a16="http://schemas.microsoft.com/office/drawing/2014/main" id="{029BF1DB-303D-1B63-E2A0-AC6B4F883FF9}"/>
                  </a:ext>
                </a:extLst>
              </p:cNvPr>
              <p:cNvSpPr>
                <a:spLocks/>
              </p:cNvSpPr>
              <p:nvPr/>
            </p:nvSpPr>
            <p:spPr bwMode="auto">
              <a:xfrm>
                <a:off x="8272463" y="2255837"/>
                <a:ext cx="93663" cy="93663"/>
              </a:xfrm>
              <a:custGeom>
                <a:avLst/>
                <a:gdLst>
                  <a:gd name="T0" fmla="*/ 5 w 59"/>
                  <a:gd name="T1" fmla="*/ 59 h 59"/>
                  <a:gd name="T2" fmla="*/ 0 w 59"/>
                  <a:gd name="T3" fmla="*/ 54 h 59"/>
                  <a:gd name="T4" fmla="*/ 55 w 59"/>
                  <a:gd name="T5" fmla="*/ 0 h 59"/>
                  <a:gd name="T6" fmla="*/ 59 w 59"/>
                  <a:gd name="T7" fmla="*/ 4 h 59"/>
                  <a:gd name="T8" fmla="*/ 5 w 59"/>
                  <a:gd name="T9" fmla="*/ 59 h 59"/>
                </a:gdLst>
                <a:ahLst/>
                <a:cxnLst>
                  <a:cxn ang="0">
                    <a:pos x="T0" y="T1"/>
                  </a:cxn>
                  <a:cxn ang="0">
                    <a:pos x="T2" y="T3"/>
                  </a:cxn>
                  <a:cxn ang="0">
                    <a:pos x="T4" y="T5"/>
                  </a:cxn>
                  <a:cxn ang="0">
                    <a:pos x="T6" y="T7"/>
                  </a:cxn>
                  <a:cxn ang="0">
                    <a:pos x="T8" y="T9"/>
                  </a:cxn>
                </a:cxnLst>
                <a:rect l="0" t="0" r="r" b="b"/>
                <a:pathLst>
                  <a:path w="59" h="59">
                    <a:moveTo>
                      <a:pt x="5" y="59"/>
                    </a:moveTo>
                    <a:lnTo>
                      <a:pt x="0" y="54"/>
                    </a:lnTo>
                    <a:lnTo>
                      <a:pt x="55" y="0"/>
                    </a:lnTo>
                    <a:lnTo>
                      <a:pt x="59" y="4"/>
                    </a:lnTo>
                    <a:lnTo>
                      <a:pt x="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9" name="Freeform 104">
                <a:extLst>
                  <a:ext uri="{FF2B5EF4-FFF2-40B4-BE49-F238E27FC236}">
                    <a16:creationId xmlns:a16="http://schemas.microsoft.com/office/drawing/2014/main" id="{285186BC-D072-2043-A2CB-A54299AE0B55}"/>
                  </a:ext>
                </a:extLst>
              </p:cNvPr>
              <p:cNvSpPr>
                <a:spLocks/>
              </p:cNvSpPr>
              <p:nvPr/>
            </p:nvSpPr>
            <p:spPr bwMode="auto">
              <a:xfrm>
                <a:off x="8253413" y="2330450"/>
                <a:ext cx="34925" cy="33338"/>
              </a:xfrm>
              <a:custGeom>
                <a:avLst/>
                <a:gdLst>
                  <a:gd name="T0" fmla="*/ 4 w 9"/>
                  <a:gd name="T1" fmla="*/ 8 h 9"/>
                  <a:gd name="T2" fmla="*/ 9 w 9"/>
                  <a:gd name="T3" fmla="*/ 5 h 9"/>
                  <a:gd name="T4" fmla="*/ 6 w 9"/>
                  <a:gd name="T5" fmla="*/ 0 h 9"/>
                  <a:gd name="T6" fmla="*/ 1 w 9"/>
                  <a:gd name="T7" fmla="*/ 3 h 9"/>
                  <a:gd name="T8" fmla="*/ 4 w 9"/>
                  <a:gd name="T9" fmla="*/ 8 h 9"/>
                </a:gdLst>
                <a:ahLst/>
                <a:cxnLst>
                  <a:cxn ang="0">
                    <a:pos x="T0" y="T1"/>
                  </a:cxn>
                  <a:cxn ang="0">
                    <a:pos x="T2" y="T3"/>
                  </a:cxn>
                  <a:cxn ang="0">
                    <a:pos x="T4" y="T5"/>
                  </a:cxn>
                  <a:cxn ang="0">
                    <a:pos x="T6" y="T7"/>
                  </a:cxn>
                  <a:cxn ang="0">
                    <a:pos x="T8" y="T9"/>
                  </a:cxn>
                </a:cxnLst>
                <a:rect l="0" t="0" r="r" b="b"/>
                <a:pathLst>
                  <a:path w="9" h="9">
                    <a:moveTo>
                      <a:pt x="4" y="8"/>
                    </a:moveTo>
                    <a:cubicBezTo>
                      <a:pt x="5" y="9"/>
                      <a:pt x="8" y="8"/>
                      <a:pt x="9" y="5"/>
                    </a:cubicBezTo>
                    <a:cubicBezTo>
                      <a:pt x="9" y="3"/>
                      <a:pt x="8" y="1"/>
                      <a:pt x="6" y="0"/>
                    </a:cubicBezTo>
                    <a:cubicBezTo>
                      <a:pt x="4" y="0"/>
                      <a:pt x="1" y="1"/>
                      <a:pt x="1" y="3"/>
                    </a:cubicBezTo>
                    <a:cubicBezTo>
                      <a:pt x="0" y="5"/>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pic>
        <p:nvPicPr>
          <p:cNvPr id="43" name="Picture 42">
            <a:extLst>
              <a:ext uri="{FF2B5EF4-FFF2-40B4-BE49-F238E27FC236}">
                <a16:creationId xmlns:a16="http://schemas.microsoft.com/office/drawing/2014/main" id="{040AAD55-2783-4532-5E61-B86347A11787}"/>
              </a:ext>
            </a:extLst>
          </p:cNvPr>
          <p:cNvPicPr>
            <a:picLocks noChangeAspect="1"/>
          </p:cNvPicPr>
          <p:nvPr/>
        </p:nvPicPr>
        <p:blipFill>
          <a:blip r:embed="rId4"/>
          <a:stretch>
            <a:fillRect/>
          </a:stretch>
        </p:blipFill>
        <p:spPr>
          <a:xfrm>
            <a:off x="5327011" y="3074364"/>
            <a:ext cx="1621972" cy="1242924"/>
          </a:xfrm>
          <a:prstGeom prst="rect">
            <a:avLst/>
          </a:prstGeom>
        </p:spPr>
      </p:pic>
      <p:sp>
        <p:nvSpPr>
          <p:cNvPr id="44" name="TextBox 43">
            <a:extLst>
              <a:ext uri="{FF2B5EF4-FFF2-40B4-BE49-F238E27FC236}">
                <a16:creationId xmlns:a16="http://schemas.microsoft.com/office/drawing/2014/main" id="{F52F3BE5-F300-0D4A-B12D-7239052A57A3}"/>
              </a:ext>
            </a:extLst>
          </p:cNvPr>
          <p:cNvSpPr txBox="1"/>
          <p:nvPr/>
        </p:nvSpPr>
        <p:spPr>
          <a:xfrm>
            <a:off x="395531" y="350016"/>
            <a:ext cx="9504927" cy="584775"/>
          </a:xfrm>
          <a:prstGeom prst="rect">
            <a:avLst/>
          </a:prstGeom>
          <a:noFill/>
        </p:spPr>
        <p:txBody>
          <a:bodyPr wrap="square">
            <a:spAutoFit/>
          </a:bodyPr>
          <a:lstStyle/>
          <a:p>
            <a:r>
              <a:rPr lang="en-IN" sz="3200" b="1" dirty="0">
                <a:solidFill>
                  <a:schemeClr val="bg1"/>
                </a:solidFill>
                <a:latin typeface="Ubuntu" panose="020B0504030602030204" pitchFamily="34" charset="0"/>
              </a:rPr>
              <a:t>FALCON </a:t>
            </a:r>
            <a:r>
              <a:rPr lang="en-IN" sz="3200" b="1" dirty="0">
                <a:solidFill>
                  <a:srgbClr val="12ABDB"/>
                </a:solidFill>
                <a:latin typeface="Ubuntu" panose="020B0504030602030204" pitchFamily="34" charset="0"/>
              </a:rPr>
              <a:t>INNOVATION</a:t>
            </a:r>
            <a:r>
              <a:rPr lang="en-IN" sz="3200" b="1" dirty="0">
                <a:solidFill>
                  <a:schemeClr val="bg1"/>
                </a:solidFill>
                <a:latin typeface="Ubuntu" panose="020B0504030602030204" pitchFamily="34" charset="0"/>
              </a:rPr>
              <a:t> CHALLENGE 2022</a:t>
            </a:r>
            <a:endParaRPr lang="en-IN" sz="3200" b="1" dirty="0">
              <a:solidFill>
                <a:srgbClr val="12ABDB"/>
              </a:solidFill>
              <a:latin typeface="Ubuntu" panose="020B0504030602030204" pitchFamily="34" charset="0"/>
            </a:endParaRPr>
          </a:p>
        </p:txBody>
      </p:sp>
      <p:sp>
        <p:nvSpPr>
          <p:cNvPr id="45" name="TextBox 44">
            <a:extLst>
              <a:ext uri="{FF2B5EF4-FFF2-40B4-BE49-F238E27FC236}">
                <a16:creationId xmlns:a16="http://schemas.microsoft.com/office/drawing/2014/main" id="{8DC14489-D261-F700-94C7-AA1A9CD703BD}"/>
              </a:ext>
            </a:extLst>
          </p:cNvPr>
          <p:cNvSpPr txBox="1"/>
          <p:nvPr/>
        </p:nvSpPr>
        <p:spPr>
          <a:xfrm>
            <a:off x="1628102" y="1261504"/>
            <a:ext cx="3966913" cy="18543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srgbClr val="12ABDB"/>
                </a:solidFill>
                <a:effectLst/>
                <a:uLnTx/>
                <a:uFillTx/>
                <a:latin typeface="Ubuntu"/>
                <a:ea typeface="+mn-ea"/>
                <a:cs typeface="+mn-cs"/>
              </a:rPr>
              <a:t>BIG</a:t>
            </a:r>
            <a:r>
              <a:rPr kumimoji="0" lang="en-IN" sz="1200" b="1" i="0" u="none" strike="noStrike" kern="1200" cap="none" spc="0" normalizeH="0" baseline="0" noProof="0" dirty="0">
                <a:ln>
                  <a:noFill/>
                </a:ln>
                <a:solidFill>
                  <a:srgbClr val="12ABDB"/>
                </a:solidFill>
                <a:effectLst/>
                <a:uLnTx/>
                <a:uFillTx/>
                <a:latin typeface="Ubuntu"/>
                <a:ea typeface="+mn-ea"/>
                <a:cs typeface="+mn-cs"/>
              </a:rPr>
              <a:t> Ideas Wanted!</a:t>
            </a:r>
          </a:p>
          <a:p>
            <a:pPr lvl="0">
              <a:defRPr/>
            </a:pPr>
            <a:r>
              <a:rPr lang="en-IN" sz="1050" dirty="0">
                <a:solidFill>
                  <a:schemeClr val="bg1"/>
                </a:solidFill>
                <a:latin typeface="Ubuntu"/>
              </a:rPr>
              <a:t>The Falcon Innovation Challenge is a</a:t>
            </a:r>
            <a:r>
              <a:rPr kumimoji="0" lang="en-IN" sz="1050" b="0" i="0" u="none" strike="noStrike" kern="1200" cap="none" spc="0" normalizeH="0" baseline="0" noProof="0" dirty="0">
                <a:ln>
                  <a:noFill/>
                </a:ln>
                <a:solidFill>
                  <a:schemeClr val="bg1"/>
                </a:solidFill>
                <a:effectLst/>
                <a:uLnTx/>
                <a:uFillTx/>
                <a:latin typeface="Ubuntu"/>
                <a:ea typeface="+mn-ea"/>
                <a:cs typeface="+mn-cs"/>
              </a:rPr>
              <a:t>n opportunity to work together and </a:t>
            </a:r>
            <a:r>
              <a:rPr lang="en-IN" sz="1050" dirty="0">
                <a:solidFill>
                  <a:schemeClr val="bg1"/>
                </a:solidFill>
              </a:rPr>
              <a:t>bring ideas </a:t>
            </a:r>
            <a:r>
              <a:rPr kumimoji="0" lang="en-IN" sz="1050" b="0" i="0" u="none" strike="noStrike" kern="1200" cap="none" spc="0" normalizeH="0" baseline="0" noProof="0" dirty="0">
                <a:ln>
                  <a:noFill/>
                </a:ln>
                <a:solidFill>
                  <a:schemeClr val="bg1"/>
                </a:solidFill>
                <a:effectLst/>
                <a:uLnTx/>
                <a:uFillTx/>
                <a:latin typeface="Ubuntu"/>
                <a:ea typeface="+mn-ea"/>
                <a:cs typeface="+mn-cs"/>
              </a:rPr>
              <a:t>to life that help address our client's critical business needs &amp; challenges. Whether it's building AI/ML infused personalization combined with 5G to provide a immersive experience or using AI for predictive network assurance, or building sustainable tech solutions through servitization and circular economy - participation in the Falcon challenge is the opportunity to identify &amp; prototype innovative solutions leveraging the brightest minds at Capgemini.</a:t>
            </a:r>
          </a:p>
        </p:txBody>
      </p:sp>
      <p:sp>
        <p:nvSpPr>
          <p:cNvPr id="46" name="TextBox 45">
            <a:extLst>
              <a:ext uri="{FF2B5EF4-FFF2-40B4-BE49-F238E27FC236}">
                <a16:creationId xmlns:a16="http://schemas.microsoft.com/office/drawing/2014/main" id="{988D6A04-F89A-84E3-4269-8A44CBCE60C6}"/>
              </a:ext>
            </a:extLst>
          </p:cNvPr>
          <p:cNvSpPr txBox="1"/>
          <p:nvPr/>
        </p:nvSpPr>
        <p:spPr>
          <a:xfrm>
            <a:off x="581025" y="5203432"/>
            <a:ext cx="5540688" cy="12772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12ABDB"/>
                </a:solidFill>
                <a:effectLst/>
                <a:uLnTx/>
                <a:uFillTx/>
                <a:latin typeface="Ubuntu"/>
                <a:ea typeface="+mn-ea"/>
                <a:cs typeface="+mn-cs"/>
              </a:rPr>
              <a:t>Why is it relev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chemeClr val="bg1"/>
                </a:solidFill>
                <a:effectLst/>
                <a:uLnTx/>
                <a:uFillTx/>
                <a:latin typeface="Ubuntu"/>
                <a:ea typeface="+mn-ea"/>
                <a:cs typeface="+mn-cs"/>
              </a:rPr>
              <a:t>In the constantly evolving VUCA world, we need to collaborate and focus on creating more businesses value for our customers. With a renewed focus on operational efficiency, we need to identify better and more innovative ways to help our clients reduce costs and increase their brand awareness and market share. The Falcon Challenge will help us identify a diverse pool of ideas and talented teams can work together to bring relevant innovative solutions to the market faster.</a:t>
            </a:r>
          </a:p>
        </p:txBody>
      </p:sp>
      <p:sp>
        <p:nvSpPr>
          <p:cNvPr id="47" name="TextBox 46">
            <a:extLst>
              <a:ext uri="{FF2B5EF4-FFF2-40B4-BE49-F238E27FC236}">
                <a16:creationId xmlns:a16="http://schemas.microsoft.com/office/drawing/2014/main" id="{2FC32843-D7B8-AB46-F2B4-7804E132B539}"/>
              </a:ext>
            </a:extLst>
          </p:cNvPr>
          <p:cNvSpPr txBox="1"/>
          <p:nvPr/>
        </p:nvSpPr>
        <p:spPr>
          <a:xfrm>
            <a:off x="7290277" y="2709726"/>
            <a:ext cx="4096487"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12ABDB"/>
                </a:solidFill>
                <a:effectLst/>
                <a:uLnTx/>
                <a:uFillTx/>
                <a:latin typeface="Ubuntu"/>
                <a:ea typeface="+mn-ea"/>
                <a:cs typeface="+mn-cs"/>
              </a:rPr>
              <a:t>What's in it for 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dirty="0">
                <a:ln>
                  <a:noFill/>
                </a:ln>
                <a:solidFill>
                  <a:schemeClr val="bg1"/>
                </a:solidFill>
                <a:effectLst/>
                <a:uLnTx/>
                <a:uFillTx/>
                <a:latin typeface="Ubuntu"/>
                <a:ea typeface="+mn-ea"/>
                <a:cs typeface="+mn-cs"/>
              </a:rPr>
              <a:t>We believe that in each one of you lies the spirit of a Falcon to rise above and beyond to come forward with your innovative ideas that will help solve customer proble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050" b="0" i="0" u="none" strike="noStrike" kern="1200" cap="none" spc="0" normalizeH="0" baseline="0" noProof="0" dirty="0">
                <a:ln>
                  <a:noFill/>
                </a:ln>
                <a:solidFill>
                  <a:schemeClr val="bg1"/>
                </a:solidFill>
                <a:effectLst/>
                <a:uLnTx/>
                <a:uFillTx/>
                <a:latin typeface="Ubuntu"/>
                <a:ea typeface="+mn-ea"/>
                <a:cs typeface="+mn-cs"/>
              </a:rPr>
              <a:t>Winning teams will be rewarded  with </a:t>
            </a:r>
            <a:r>
              <a:rPr kumimoji="0" lang="en-IN" sz="1050" b="1" i="0" u="none" strike="noStrike" kern="1200" cap="none" spc="0" normalizeH="0" baseline="0" noProof="0" dirty="0">
                <a:ln>
                  <a:noFill/>
                </a:ln>
                <a:solidFill>
                  <a:srgbClr val="12ABDB"/>
                </a:solidFill>
                <a:effectLst/>
                <a:uLnTx/>
                <a:uFillTx/>
                <a:latin typeface="Ubuntu"/>
                <a:ea typeface="+mn-ea"/>
                <a:cs typeface="+mn-cs"/>
              </a:rPr>
              <a:t>$5,000 in cash &amp; priz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050" b="0" i="0" u="none" strike="noStrike" kern="1200" cap="none" spc="0" normalizeH="0" baseline="0" noProof="0" dirty="0">
                <a:ln>
                  <a:noFill/>
                </a:ln>
                <a:solidFill>
                  <a:schemeClr val="bg1"/>
                </a:solidFill>
                <a:effectLst/>
                <a:uLnTx/>
                <a:uFillTx/>
                <a:latin typeface="Ubuntu"/>
                <a:ea typeface="+mn-ea"/>
                <a:cs typeface="+mn-cs"/>
              </a:rPr>
              <a:t>Teams coming up with </a:t>
            </a:r>
            <a:r>
              <a:rPr lang="en-IN" sz="1050" b="1" dirty="0">
                <a:solidFill>
                  <a:srgbClr val="12ABDB"/>
                </a:solidFill>
                <a:latin typeface="Ubuntu"/>
              </a:rPr>
              <a:t>cross sector </a:t>
            </a:r>
            <a:r>
              <a:rPr lang="en-IN" sz="1050" dirty="0">
                <a:solidFill>
                  <a:schemeClr val="bg1"/>
                </a:solidFill>
                <a:latin typeface="Ubuntu"/>
              </a:rPr>
              <a:t>&amp;</a:t>
            </a:r>
            <a:r>
              <a:rPr lang="en-IN" sz="1050" b="1" dirty="0">
                <a:solidFill>
                  <a:srgbClr val="12ABDB"/>
                </a:solidFill>
                <a:latin typeface="Ubuntu"/>
              </a:rPr>
              <a:t> multi-tower </a:t>
            </a:r>
            <a:r>
              <a:rPr kumimoji="0" lang="en-IN" sz="1050" b="0" i="0" u="none" strike="noStrike" kern="1200" cap="none" spc="0" normalizeH="0" baseline="0" noProof="0" dirty="0">
                <a:ln>
                  <a:noFill/>
                </a:ln>
                <a:solidFill>
                  <a:schemeClr val="bg1"/>
                </a:solidFill>
                <a:effectLst/>
                <a:uLnTx/>
                <a:uFillTx/>
                <a:latin typeface="Ubuntu"/>
                <a:ea typeface="+mn-ea"/>
                <a:cs typeface="+mn-cs"/>
              </a:rPr>
              <a:t>ideas/solutions will have an ed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50" b="1" dirty="0">
                <a:solidFill>
                  <a:srgbClr val="12ABDB"/>
                </a:solidFill>
                <a:latin typeface="Ubuntu"/>
              </a:rPr>
              <a:t>Recogni</a:t>
            </a:r>
            <a:r>
              <a:rPr kumimoji="0" lang="en-IN" sz="1050" b="1" i="0" u="none" strike="noStrike" kern="1200" cap="none" spc="0" normalizeH="0" baseline="0" noProof="0" dirty="0" err="1">
                <a:ln>
                  <a:noFill/>
                </a:ln>
                <a:solidFill>
                  <a:srgbClr val="12ABDB"/>
                </a:solidFill>
                <a:effectLst/>
                <a:uLnTx/>
                <a:uFillTx/>
                <a:latin typeface="Ubuntu"/>
                <a:ea typeface="+mn-ea"/>
                <a:cs typeface="+mn-cs"/>
              </a:rPr>
              <a:t>tion</a:t>
            </a:r>
            <a:r>
              <a:rPr kumimoji="0" lang="en-IN" sz="1050" b="1" i="0" u="none" strike="noStrike" kern="1200" cap="none" spc="0" normalizeH="0" baseline="0" noProof="0" dirty="0">
                <a:ln>
                  <a:noFill/>
                </a:ln>
                <a:solidFill>
                  <a:srgbClr val="12ABDB"/>
                </a:solidFill>
                <a:effectLst/>
                <a:uLnTx/>
                <a:uFillTx/>
                <a:latin typeface="Ubuntu"/>
                <a:ea typeface="+mn-ea"/>
                <a:cs typeface="+mn-cs"/>
              </a:rPr>
              <a:t> on Talent </a:t>
            </a:r>
            <a:r>
              <a:rPr lang="en-IN" sz="1050" dirty="0">
                <a:solidFill>
                  <a:schemeClr val="bg1"/>
                </a:solidFill>
                <a:latin typeface="Ubuntu"/>
              </a:rPr>
              <a:t>and invitation to attend exclusive </a:t>
            </a:r>
            <a:r>
              <a:rPr kumimoji="0" lang="en-IN" sz="1050" b="1" i="0" u="none" strike="noStrike" kern="1200" cap="none" spc="0" normalizeH="0" baseline="0" noProof="0" dirty="0">
                <a:ln>
                  <a:noFill/>
                </a:ln>
                <a:solidFill>
                  <a:srgbClr val="12ABDB"/>
                </a:solidFill>
                <a:effectLst/>
                <a:uLnTx/>
                <a:uFillTx/>
                <a:latin typeface="Ubuntu"/>
                <a:ea typeface="+mn-ea"/>
                <a:cs typeface="+mn-cs"/>
              </a:rPr>
              <a:t>TMT Leadership events.</a:t>
            </a:r>
          </a:p>
        </p:txBody>
      </p:sp>
      <p:pic>
        <p:nvPicPr>
          <p:cNvPr id="50" name="Picture 49" descr="Shape&#10;&#10;Description automatically generated">
            <a:extLst>
              <a:ext uri="{FF2B5EF4-FFF2-40B4-BE49-F238E27FC236}">
                <a16:creationId xmlns:a16="http://schemas.microsoft.com/office/drawing/2014/main" id="{72441168-7CC7-F13F-7669-78ECA98D1E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1199284" flipH="1">
            <a:off x="4622768" y="-3030217"/>
            <a:ext cx="3347747" cy="2365688"/>
          </a:xfrm>
          <a:prstGeom prst="rect">
            <a:avLst/>
          </a:prstGeom>
        </p:spPr>
      </p:pic>
    </p:spTree>
    <p:extLst>
      <p:ext uri="{BB962C8B-B14F-4D97-AF65-F5344CB8AC3E}">
        <p14:creationId xmlns:p14="http://schemas.microsoft.com/office/powerpoint/2010/main" val="2086477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721E7C-E093-4871-A2D2-871A7D50A6D5}"/>
              </a:ext>
            </a:extLst>
          </p:cNvPr>
          <p:cNvSpPr>
            <a:spLocks noGrp="1"/>
          </p:cNvSpPr>
          <p:nvPr>
            <p:ph type="title"/>
          </p:nvPr>
        </p:nvSpPr>
        <p:spPr>
          <a:xfrm>
            <a:off x="417583" y="198466"/>
            <a:ext cx="12192000" cy="716711"/>
          </a:xfrm>
        </p:spPr>
        <p:txBody>
          <a:bodyPr/>
          <a:lstStyle/>
          <a:p>
            <a:r>
              <a:rPr lang="en-US" sz="4000" b="1" dirty="0">
                <a:latin typeface="Ubuntu" panose="020B0504030602030204" pitchFamily="34" charset="0"/>
              </a:rPr>
              <a:t>tIME</a:t>
            </a:r>
            <a:r>
              <a:rPr lang="en-US" sz="4000" b="1" dirty="0">
                <a:solidFill>
                  <a:srgbClr val="12ABDB"/>
                </a:solidFill>
                <a:latin typeface="Ubuntu" panose="020B0504030602030204" pitchFamily="34" charset="0"/>
              </a:rPr>
              <a:t>LINE</a:t>
            </a:r>
          </a:p>
        </p:txBody>
      </p:sp>
      <p:sp>
        <p:nvSpPr>
          <p:cNvPr id="100" name="Freeform: Shape 99">
            <a:extLst>
              <a:ext uri="{FF2B5EF4-FFF2-40B4-BE49-F238E27FC236}">
                <a16:creationId xmlns:a16="http://schemas.microsoft.com/office/drawing/2014/main" id="{E96F3E42-EDC1-40C6-8816-2EDAB9A26A21}"/>
              </a:ext>
            </a:extLst>
          </p:cNvPr>
          <p:cNvSpPr/>
          <p:nvPr/>
        </p:nvSpPr>
        <p:spPr>
          <a:xfrm>
            <a:off x="2485793" y="1708691"/>
            <a:ext cx="8006115" cy="2259405"/>
          </a:xfrm>
          <a:custGeom>
            <a:avLst/>
            <a:gdLst>
              <a:gd name="connsiteX0" fmla="*/ 0 w 10029825"/>
              <a:gd name="connsiteY0" fmla="*/ 2209800 h 2609363"/>
              <a:gd name="connsiteX1" fmla="*/ 923925 w 10029825"/>
              <a:gd name="connsiteY1" fmla="*/ 2600325 h 2609363"/>
              <a:gd name="connsiteX2" fmla="*/ 2257425 w 10029825"/>
              <a:gd name="connsiteY2" fmla="*/ 1866900 h 2609363"/>
              <a:gd name="connsiteX3" fmla="*/ 4819650 w 10029825"/>
              <a:gd name="connsiteY3" fmla="*/ 1885950 h 2609363"/>
              <a:gd name="connsiteX4" fmla="*/ 6419850 w 10029825"/>
              <a:gd name="connsiteY4" fmla="*/ 1152525 h 2609363"/>
              <a:gd name="connsiteX5" fmla="*/ 9086850 w 10029825"/>
              <a:gd name="connsiteY5" fmla="*/ 704850 h 2609363"/>
              <a:gd name="connsiteX6" fmla="*/ 10029825 w 10029825"/>
              <a:gd name="connsiteY6" fmla="*/ 0 h 2609363"/>
              <a:gd name="connsiteX0" fmla="*/ 0 w 10182322"/>
              <a:gd name="connsiteY0" fmla="*/ 1943100 h 2342663"/>
              <a:gd name="connsiteX1" fmla="*/ 923925 w 10182322"/>
              <a:gd name="connsiteY1" fmla="*/ 2333625 h 2342663"/>
              <a:gd name="connsiteX2" fmla="*/ 2257425 w 10182322"/>
              <a:gd name="connsiteY2" fmla="*/ 1600200 h 2342663"/>
              <a:gd name="connsiteX3" fmla="*/ 4819650 w 10182322"/>
              <a:gd name="connsiteY3" fmla="*/ 1619250 h 2342663"/>
              <a:gd name="connsiteX4" fmla="*/ 6419850 w 10182322"/>
              <a:gd name="connsiteY4" fmla="*/ 885825 h 2342663"/>
              <a:gd name="connsiteX5" fmla="*/ 9086850 w 10182322"/>
              <a:gd name="connsiteY5" fmla="*/ 438150 h 2342663"/>
              <a:gd name="connsiteX6" fmla="*/ 10182322 w 10182322"/>
              <a:gd name="connsiteY6" fmla="*/ 0 h 2342663"/>
              <a:gd name="connsiteX0" fmla="*/ 0 w 10182322"/>
              <a:gd name="connsiteY0" fmla="*/ 1943100 h 2342663"/>
              <a:gd name="connsiteX1" fmla="*/ 923925 w 10182322"/>
              <a:gd name="connsiteY1" fmla="*/ 2333625 h 2342663"/>
              <a:gd name="connsiteX2" fmla="*/ 2257425 w 10182322"/>
              <a:gd name="connsiteY2" fmla="*/ 1600200 h 2342663"/>
              <a:gd name="connsiteX3" fmla="*/ 4819650 w 10182322"/>
              <a:gd name="connsiteY3" fmla="*/ 1619250 h 2342663"/>
              <a:gd name="connsiteX4" fmla="*/ 6419850 w 10182322"/>
              <a:gd name="connsiteY4" fmla="*/ 885825 h 2342663"/>
              <a:gd name="connsiteX5" fmla="*/ 9086850 w 10182322"/>
              <a:gd name="connsiteY5" fmla="*/ 438150 h 2342663"/>
              <a:gd name="connsiteX6" fmla="*/ 10182322 w 10182322"/>
              <a:gd name="connsiteY6" fmla="*/ 0 h 2342663"/>
              <a:gd name="connsiteX0" fmla="*/ 0 w 10182322"/>
              <a:gd name="connsiteY0" fmla="*/ 1943100 h 2342663"/>
              <a:gd name="connsiteX1" fmla="*/ 923925 w 10182322"/>
              <a:gd name="connsiteY1" fmla="*/ 2333625 h 2342663"/>
              <a:gd name="connsiteX2" fmla="*/ 2257425 w 10182322"/>
              <a:gd name="connsiteY2" fmla="*/ 1600200 h 2342663"/>
              <a:gd name="connsiteX3" fmla="*/ 4819650 w 10182322"/>
              <a:gd name="connsiteY3" fmla="*/ 1619250 h 2342663"/>
              <a:gd name="connsiteX4" fmla="*/ 6419850 w 10182322"/>
              <a:gd name="connsiteY4" fmla="*/ 885825 h 2342663"/>
              <a:gd name="connsiteX5" fmla="*/ 9063389 w 10182322"/>
              <a:gd name="connsiteY5" fmla="*/ 666750 h 2342663"/>
              <a:gd name="connsiteX6" fmla="*/ 10182322 w 10182322"/>
              <a:gd name="connsiteY6" fmla="*/ 0 h 2342663"/>
              <a:gd name="connsiteX0" fmla="*/ 0 w 10147130"/>
              <a:gd name="connsiteY0" fmla="*/ 1990725 h 2390288"/>
              <a:gd name="connsiteX1" fmla="*/ 923925 w 10147130"/>
              <a:gd name="connsiteY1" fmla="*/ 2381250 h 2390288"/>
              <a:gd name="connsiteX2" fmla="*/ 2257425 w 10147130"/>
              <a:gd name="connsiteY2" fmla="*/ 1647825 h 2390288"/>
              <a:gd name="connsiteX3" fmla="*/ 4819650 w 10147130"/>
              <a:gd name="connsiteY3" fmla="*/ 1666875 h 2390288"/>
              <a:gd name="connsiteX4" fmla="*/ 6419850 w 10147130"/>
              <a:gd name="connsiteY4" fmla="*/ 933450 h 2390288"/>
              <a:gd name="connsiteX5" fmla="*/ 9063389 w 10147130"/>
              <a:gd name="connsiteY5" fmla="*/ 714375 h 2390288"/>
              <a:gd name="connsiteX6" fmla="*/ 10147130 w 10147130"/>
              <a:gd name="connsiteY6" fmla="*/ 0 h 2390288"/>
              <a:gd name="connsiteX0" fmla="*/ 0 w 10147130"/>
              <a:gd name="connsiteY0" fmla="*/ 1990725 h 2390288"/>
              <a:gd name="connsiteX1" fmla="*/ 923925 w 10147130"/>
              <a:gd name="connsiteY1" fmla="*/ 2381250 h 2390288"/>
              <a:gd name="connsiteX2" fmla="*/ 2257425 w 10147130"/>
              <a:gd name="connsiteY2" fmla="*/ 1647825 h 2390288"/>
              <a:gd name="connsiteX3" fmla="*/ 4819650 w 10147130"/>
              <a:gd name="connsiteY3" fmla="*/ 1666875 h 2390288"/>
              <a:gd name="connsiteX4" fmla="*/ 6419850 w 10147130"/>
              <a:gd name="connsiteY4" fmla="*/ 933450 h 2390288"/>
              <a:gd name="connsiteX5" fmla="*/ 9063389 w 10147130"/>
              <a:gd name="connsiteY5" fmla="*/ 714375 h 2390288"/>
              <a:gd name="connsiteX6" fmla="*/ 10147130 w 10147130"/>
              <a:gd name="connsiteY6" fmla="*/ 0 h 2390288"/>
              <a:gd name="connsiteX0" fmla="*/ 0 w 10217513"/>
              <a:gd name="connsiteY0" fmla="*/ 1885950 h 2285513"/>
              <a:gd name="connsiteX1" fmla="*/ 923925 w 10217513"/>
              <a:gd name="connsiteY1" fmla="*/ 2276475 h 2285513"/>
              <a:gd name="connsiteX2" fmla="*/ 2257425 w 10217513"/>
              <a:gd name="connsiteY2" fmla="*/ 1543050 h 2285513"/>
              <a:gd name="connsiteX3" fmla="*/ 4819650 w 10217513"/>
              <a:gd name="connsiteY3" fmla="*/ 1562100 h 2285513"/>
              <a:gd name="connsiteX4" fmla="*/ 6419850 w 10217513"/>
              <a:gd name="connsiteY4" fmla="*/ 828675 h 2285513"/>
              <a:gd name="connsiteX5" fmla="*/ 9063389 w 10217513"/>
              <a:gd name="connsiteY5" fmla="*/ 609600 h 2285513"/>
              <a:gd name="connsiteX6" fmla="*/ 10217513 w 10217513"/>
              <a:gd name="connsiteY6" fmla="*/ 0 h 2285513"/>
              <a:gd name="connsiteX0" fmla="*/ 0 w 10349481"/>
              <a:gd name="connsiteY0" fmla="*/ 1945481 h 2291020"/>
              <a:gd name="connsiteX1" fmla="*/ 1055893 w 10349481"/>
              <a:gd name="connsiteY1" fmla="*/ 2276475 h 2291020"/>
              <a:gd name="connsiteX2" fmla="*/ 2389393 w 10349481"/>
              <a:gd name="connsiteY2" fmla="*/ 1543050 h 2291020"/>
              <a:gd name="connsiteX3" fmla="*/ 4951618 w 10349481"/>
              <a:gd name="connsiteY3" fmla="*/ 1562100 h 2291020"/>
              <a:gd name="connsiteX4" fmla="*/ 6551818 w 10349481"/>
              <a:gd name="connsiteY4" fmla="*/ 828675 h 2291020"/>
              <a:gd name="connsiteX5" fmla="*/ 9195357 w 10349481"/>
              <a:gd name="connsiteY5" fmla="*/ 609600 h 2291020"/>
              <a:gd name="connsiteX6" fmla="*/ 10349481 w 10349481"/>
              <a:gd name="connsiteY6" fmla="*/ 0 h 2291020"/>
              <a:gd name="connsiteX0" fmla="*/ 0 w 9293588"/>
              <a:gd name="connsiteY0" fmla="*/ 2276475 h 2276475"/>
              <a:gd name="connsiteX1" fmla="*/ 1333500 w 9293588"/>
              <a:gd name="connsiteY1" fmla="*/ 1543050 h 2276475"/>
              <a:gd name="connsiteX2" fmla="*/ 3895725 w 9293588"/>
              <a:gd name="connsiteY2" fmla="*/ 1562100 h 2276475"/>
              <a:gd name="connsiteX3" fmla="*/ 5495925 w 9293588"/>
              <a:gd name="connsiteY3" fmla="*/ 828675 h 2276475"/>
              <a:gd name="connsiteX4" fmla="*/ 8139464 w 9293588"/>
              <a:gd name="connsiteY4" fmla="*/ 609600 h 2276475"/>
              <a:gd name="connsiteX5" fmla="*/ 9293588 w 9293588"/>
              <a:gd name="connsiteY5" fmla="*/ 0 h 2276475"/>
              <a:gd name="connsiteX0" fmla="*/ 0 w 8853694"/>
              <a:gd name="connsiteY0" fmla="*/ 2028825 h 2028825"/>
              <a:gd name="connsiteX1" fmla="*/ 893606 w 8853694"/>
              <a:gd name="connsiteY1" fmla="*/ 1543050 h 2028825"/>
              <a:gd name="connsiteX2" fmla="*/ 3455831 w 8853694"/>
              <a:gd name="connsiteY2" fmla="*/ 1562100 h 2028825"/>
              <a:gd name="connsiteX3" fmla="*/ 5056031 w 8853694"/>
              <a:gd name="connsiteY3" fmla="*/ 828675 h 2028825"/>
              <a:gd name="connsiteX4" fmla="*/ 7699570 w 8853694"/>
              <a:gd name="connsiteY4" fmla="*/ 609600 h 2028825"/>
              <a:gd name="connsiteX5" fmla="*/ 8853694 w 8853694"/>
              <a:gd name="connsiteY5" fmla="*/ 0 h 2028825"/>
              <a:gd name="connsiteX0" fmla="*/ 0 w 8853694"/>
              <a:gd name="connsiteY0" fmla="*/ 2028825 h 2028825"/>
              <a:gd name="connsiteX1" fmla="*/ 893606 w 8853694"/>
              <a:gd name="connsiteY1" fmla="*/ 1543050 h 2028825"/>
              <a:gd name="connsiteX2" fmla="*/ 3455831 w 8853694"/>
              <a:gd name="connsiteY2" fmla="*/ 1562100 h 2028825"/>
              <a:gd name="connsiteX3" fmla="*/ 5056031 w 8853694"/>
              <a:gd name="connsiteY3" fmla="*/ 828675 h 2028825"/>
              <a:gd name="connsiteX4" fmla="*/ 7699570 w 8853694"/>
              <a:gd name="connsiteY4" fmla="*/ 609600 h 2028825"/>
              <a:gd name="connsiteX5" fmla="*/ 8853694 w 8853694"/>
              <a:gd name="connsiteY5" fmla="*/ 0 h 2028825"/>
              <a:gd name="connsiteX0" fmla="*/ 0 w 8853694"/>
              <a:gd name="connsiteY0" fmla="*/ 2028825 h 2028825"/>
              <a:gd name="connsiteX1" fmla="*/ 893606 w 8853694"/>
              <a:gd name="connsiteY1" fmla="*/ 1543050 h 2028825"/>
              <a:gd name="connsiteX2" fmla="*/ 3455831 w 8853694"/>
              <a:gd name="connsiteY2" fmla="*/ 1562100 h 2028825"/>
              <a:gd name="connsiteX3" fmla="*/ 5056031 w 8853694"/>
              <a:gd name="connsiteY3" fmla="*/ 828675 h 2028825"/>
              <a:gd name="connsiteX4" fmla="*/ 7699570 w 8853694"/>
              <a:gd name="connsiteY4" fmla="*/ 609600 h 2028825"/>
              <a:gd name="connsiteX5" fmla="*/ 8853694 w 8853694"/>
              <a:gd name="connsiteY5" fmla="*/ 0 h 2028825"/>
              <a:gd name="connsiteX0" fmla="*/ 0 w 8853694"/>
              <a:gd name="connsiteY0" fmla="*/ 2028825 h 2028825"/>
              <a:gd name="connsiteX1" fmla="*/ 893606 w 8853694"/>
              <a:gd name="connsiteY1" fmla="*/ 1543050 h 2028825"/>
              <a:gd name="connsiteX2" fmla="*/ 3455831 w 8853694"/>
              <a:gd name="connsiteY2" fmla="*/ 1562100 h 2028825"/>
              <a:gd name="connsiteX3" fmla="*/ 5056031 w 8853694"/>
              <a:gd name="connsiteY3" fmla="*/ 828675 h 2028825"/>
              <a:gd name="connsiteX4" fmla="*/ 7699570 w 8853694"/>
              <a:gd name="connsiteY4" fmla="*/ 609600 h 2028825"/>
              <a:gd name="connsiteX5" fmla="*/ 8853694 w 8853694"/>
              <a:gd name="connsiteY5" fmla="*/ 0 h 2028825"/>
              <a:gd name="connsiteX0" fmla="*/ 0 w 8853694"/>
              <a:gd name="connsiteY0" fmla="*/ 2028825 h 2028825"/>
              <a:gd name="connsiteX1" fmla="*/ 893606 w 8853694"/>
              <a:gd name="connsiteY1" fmla="*/ 1543050 h 2028825"/>
              <a:gd name="connsiteX2" fmla="*/ 3455831 w 8853694"/>
              <a:gd name="connsiteY2" fmla="*/ 1562100 h 2028825"/>
              <a:gd name="connsiteX3" fmla="*/ 5056031 w 8853694"/>
              <a:gd name="connsiteY3" fmla="*/ 828675 h 2028825"/>
              <a:gd name="connsiteX4" fmla="*/ 7699570 w 8853694"/>
              <a:gd name="connsiteY4" fmla="*/ 609600 h 2028825"/>
              <a:gd name="connsiteX5" fmla="*/ 8853694 w 8853694"/>
              <a:gd name="connsiteY5" fmla="*/ 0 h 202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53694" h="2028825">
                <a:moveTo>
                  <a:pt x="0" y="2028825"/>
                </a:moveTo>
                <a:cubicBezTo>
                  <a:pt x="319050" y="1821259"/>
                  <a:pt x="288309" y="1720850"/>
                  <a:pt x="893606" y="1543050"/>
                </a:cubicBezTo>
                <a:cubicBezTo>
                  <a:pt x="1498903" y="1365250"/>
                  <a:pt x="2762094" y="1681162"/>
                  <a:pt x="3455831" y="1562100"/>
                </a:cubicBezTo>
                <a:cubicBezTo>
                  <a:pt x="4149569" y="1443037"/>
                  <a:pt x="4348741" y="987425"/>
                  <a:pt x="5056031" y="828675"/>
                </a:cubicBezTo>
                <a:cubicBezTo>
                  <a:pt x="5763321" y="669925"/>
                  <a:pt x="7066626" y="747712"/>
                  <a:pt x="7699570" y="609600"/>
                </a:cubicBezTo>
                <a:cubicBezTo>
                  <a:pt x="8332514" y="471488"/>
                  <a:pt x="8424967" y="351631"/>
                  <a:pt x="8853694" y="0"/>
                </a:cubicBezTo>
              </a:path>
            </a:pathLst>
          </a:custGeom>
          <a:ln w="76200">
            <a:solidFill>
              <a:schemeClr val="accent2"/>
            </a:solidFill>
            <a:headEnd type="none" w="med" len="med"/>
            <a:tailEnd type="arrow" w="med" len="med"/>
          </a:ln>
        </p:spPr>
        <p:style>
          <a:lnRef idx="1">
            <a:schemeClr val="accent4"/>
          </a:lnRef>
          <a:fillRef idx="0">
            <a:schemeClr val="accent4"/>
          </a:fillRef>
          <a:effectRef idx="0">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101" name="Freeform: Shape 100">
            <a:extLst>
              <a:ext uri="{FF2B5EF4-FFF2-40B4-BE49-F238E27FC236}">
                <a16:creationId xmlns:a16="http://schemas.microsoft.com/office/drawing/2014/main" id="{E425DCA7-6CF7-43D5-A34B-BA4943FB0975}"/>
              </a:ext>
            </a:extLst>
          </p:cNvPr>
          <p:cNvSpPr/>
          <p:nvPr/>
        </p:nvSpPr>
        <p:spPr>
          <a:xfrm rot="11016021">
            <a:off x="418012" y="3938953"/>
            <a:ext cx="2041549" cy="479442"/>
          </a:xfrm>
          <a:custGeom>
            <a:avLst/>
            <a:gdLst>
              <a:gd name="connsiteX0" fmla="*/ 0 w 571501"/>
              <a:gd name="connsiteY0" fmla="*/ 0 h 273050"/>
              <a:gd name="connsiteX1" fmla="*/ 0 w 571501"/>
              <a:gd name="connsiteY1" fmla="*/ 0 h 273050"/>
              <a:gd name="connsiteX2" fmla="*/ 38100 w 571501"/>
              <a:gd name="connsiteY2" fmla="*/ 76200 h 273050"/>
              <a:gd name="connsiteX3" fmla="*/ 57150 w 571501"/>
              <a:gd name="connsiteY3" fmla="*/ 127000 h 273050"/>
              <a:gd name="connsiteX4" fmla="*/ 73025 w 571501"/>
              <a:gd name="connsiteY4" fmla="*/ 152400 h 273050"/>
              <a:gd name="connsiteX5" fmla="*/ 196850 w 571501"/>
              <a:gd name="connsiteY5" fmla="*/ 254000 h 273050"/>
              <a:gd name="connsiteX6" fmla="*/ 276225 w 571501"/>
              <a:gd name="connsiteY6" fmla="*/ 269875 h 273050"/>
              <a:gd name="connsiteX7" fmla="*/ 304800 w 571501"/>
              <a:gd name="connsiteY7" fmla="*/ 273050 h 273050"/>
              <a:gd name="connsiteX8" fmla="*/ 425450 w 571501"/>
              <a:gd name="connsiteY8" fmla="*/ 260350 h 273050"/>
              <a:gd name="connsiteX9" fmla="*/ 447675 w 571501"/>
              <a:gd name="connsiteY9" fmla="*/ 247650 h 273050"/>
              <a:gd name="connsiteX10" fmla="*/ 498475 w 571501"/>
              <a:gd name="connsiteY10" fmla="*/ 225425 h 273050"/>
              <a:gd name="connsiteX11" fmla="*/ 514350 w 571501"/>
              <a:gd name="connsiteY11" fmla="*/ 215900 h 273050"/>
              <a:gd name="connsiteX12" fmla="*/ 549275 w 571501"/>
              <a:gd name="connsiteY12" fmla="*/ 184150 h 273050"/>
              <a:gd name="connsiteX13" fmla="*/ 558800 w 571501"/>
              <a:gd name="connsiteY13" fmla="*/ 171450 h 273050"/>
              <a:gd name="connsiteX14" fmla="*/ 561975 w 571501"/>
              <a:gd name="connsiteY14" fmla="*/ 161925 h 273050"/>
              <a:gd name="connsiteX15" fmla="*/ 565150 w 571501"/>
              <a:gd name="connsiteY15" fmla="*/ 142875 h 273050"/>
              <a:gd name="connsiteX16" fmla="*/ 568325 w 571501"/>
              <a:gd name="connsiteY16" fmla="*/ 127000 h 273050"/>
              <a:gd name="connsiteX17" fmla="*/ 571500 w 571501"/>
              <a:gd name="connsiteY17" fmla="*/ 41275 h 273050"/>
              <a:gd name="connsiteX18" fmla="*/ 0 w 571501"/>
              <a:gd name="connsiteY18" fmla="*/ 0 h 273050"/>
              <a:gd name="connsiteX0" fmla="*/ 0 w 571501"/>
              <a:gd name="connsiteY0" fmla="*/ 0 h 273050"/>
              <a:gd name="connsiteX1" fmla="*/ 0 w 571501"/>
              <a:gd name="connsiteY1" fmla="*/ 0 h 273050"/>
              <a:gd name="connsiteX2" fmla="*/ 38100 w 571501"/>
              <a:gd name="connsiteY2" fmla="*/ 76200 h 273050"/>
              <a:gd name="connsiteX3" fmla="*/ 57150 w 571501"/>
              <a:gd name="connsiteY3" fmla="*/ 127000 h 273050"/>
              <a:gd name="connsiteX4" fmla="*/ 73025 w 571501"/>
              <a:gd name="connsiteY4" fmla="*/ 152400 h 273050"/>
              <a:gd name="connsiteX5" fmla="*/ 196850 w 571501"/>
              <a:gd name="connsiteY5" fmla="*/ 254000 h 273050"/>
              <a:gd name="connsiteX6" fmla="*/ 304800 w 571501"/>
              <a:gd name="connsiteY6" fmla="*/ 273050 h 273050"/>
              <a:gd name="connsiteX7" fmla="*/ 425450 w 571501"/>
              <a:gd name="connsiteY7" fmla="*/ 260350 h 273050"/>
              <a:gd name="connsiteX8" fmla="*/ 447675 w 571501"/>
              <a:gd name="connsiteY8" fmla="*/ 247650 h 273050"/>
              <a:gd name="connsiteX9" fmla="*/ 498475 w 571501"/>
              <a:gd name="connsiteY9" fmla="*/ 225425 h 273050"/>
              <a:gd name="connsiteX10" fmla="*/ 514350 w 571501"/>
              <a:gd name="connsiteY10" fmla="*/ 215900 h 273050"/>
              <a:gd name="connsiteX11" fmla="*/ 549275 w 571501"/>
              <a:gd name="connsiteY11" fmla="*/ 184150 h 273050"/>
              <a:gd name="connsiteX12" fmla="*/ 558800 w 571501"/>
              <a:gd name="connsiteY12" fmla="*/ 171450 h 273050"/>
              <a:gd name="connsiteX13" fmla="*/ 561975 w 571501"/>
              <a:gd name="connsiteY13" fmla="*/ 161925 h 273050"/>
              <a:gd name="connsiteX14" fmla="*/ 565150 w 571501"/>
              <a:gd name="connsiteY14" fmla="*/ 142875 h 273050"/>
              <a:gd name="connsiteX15" fmla="*/ 568325 w 571501"/>
              <a:gd name="connsiteY15" fmla="*/ 127000 h 273050"/>
              <a:gd name="connsiteX16" fmla="*/ 571500 w 571501"/>
              <a:gd name="connsiteY16" fmla="*/ 41275 h 273050"/>
              <a:gd name="connsiteX17" fmla="*/ 0 w 571501"/>
              <a:gd name="connsiteY17" fmla="*/ 0 h 273050"/>
              <a:gd name="connsiteX0" fmla="*/ 0 w 571501"/>
              <a:gd name="connsiteY0" fmla="*/ 0 h 264401"/>
              <a:gd name="connsiteX1" fmla="*/ 0 w 571501"/>
              <a:gd name="connsiteY1" fmla="*/ 0 h 264401"/>
              <a:gd name="connsiteX2" fmla="*/ 38100 w 571501"/>
              <a:gd name="connsiteY2" fmla="*/ 76200 h 264401"/>
              <a:gd name="connsiteX3" fmla="*/ 57150 w 571501"/>
              <a:gd name="connsiteY3" fmla="*/ 127000 h 264401"/>
              <a:gd name="connsiteX4" fmla="*/ 73025 w 571501"/>
              <a:gd name="connsiteY4" fmla="*/ 152400 h 264401"/>
              <a:gd name="connsiteX5" fmla="*/ 196850 w 571501"/>
              <a:gd name="connsiteY5" fmla="*/ 254000 h 264401"/>
              <a:gd name="connsiteX6" fmla="*/ 425450 w 571501"/>
              <a:gd name="connsiteY6" fmla="*/ 260350 h 264401"/>
              <a:gd name="connsiteX7" fmla="*/ 447675 w 571501"/>
              <a:gd name="connsiteY7" fmla="*/ 247650 h 264401"/>
              <a:gd name="connsiteX8" fmla="*/ 498475 w 571501"/>
              <a:gd name="connsiteY8" fmla="*/ 225425 h 264401"/>
              <a:gd name="connsiteX9" fmla="*/ 514350 w 571501"/>
              <a:gd name="connsiteY9" fmla="*/ 215900 h 264401"/>
              <a:gd name="connsiteX10" fmla="*/ 549275 w 571501"/>
              <a:gd name="connsiteY10" fmla="*/ 184150 h 264401"/>
              <a:gd name="connsiteX11" fmla="*/ 558800 w 571501"/>
              <a:gd name="connsiteY11" fmla="*/ 171450 h 264401"/>
              <a:gd name="connsiteX12" fmla="*/ 561975 w 571501"/>
              <a:gd name="connsiteY12" fmla="*/ 161925 h 264401"/>
              <a:gd name="connsiteX13" fmla="*/ 565150 w 571501"/>
              <a:gd name="connsiteY13" fmla="*/ 142875 h 264401"/>
              <a:gd name="connsiteX14" fmla="*/ 568325 w 571501"/>
              <a:gd name="connsiteY14" fmla="*/ 127000 h 264401"/>
              <a:gd name="connsiteX15" fmla="*/ 571500 w 571501"/>
              <a:gd name="connsiteY15" fmla="*/ 41275 h 264401"/>
              <a:gd name="connsiteX16" fmla="*/ 0 w 571501"/>
              <a:gd name="connsiteY16" fmla="*/ 0 h 264401"/>
              <a:gd name="connsiteX0" fmla="*/ 0 w 571501"/>
              <a:gd name="connsiteY0" fmla="*/ 0 h 260529"/>
              <a:gd name="connsiteX1" fmla="*/ 0 w 571501"/>
              <a:gd name="connsiteY1" fmla="*/ 0 h 260529"/>
              <a:gd name="connsiteX2" fmla="*/ 38100 w 571501"/>
              <a:gd name="connsiteY2" fmla="*/ 76200 h 260529"/>
              <a:gd name="connsiteX3" fmla="*/ 57150 w 571501"/>
              <a:gd name="connsiteY3" fmla="*/ 127000 h 260529"/>
              <a:gd name="connsiteX4" fmla="*/ 73025 w 571501"/>
              <a:gd name="connsiteY4" fmla="*/ 152400 h 260529"/>
              <a:gd name="connsiteX5" fmla="*/ 196850 w 571501"/>
              <a:gd name="connsiteY5" fmla="*/ 254000 h 260529"/>
              <a:gd name="connsiteX6" fmla="*/ 447675 w 571501"/>
              <a:gd name="connsiteY6" fmla="*/ 247650 h 260529"/>
              <a:gd name="connsiteX7" fmla="*/ 498475 w 571501"/>
              <a:gd name="connsiteY7" fmla="*/ 225425 h 260529"/>
              <a:gd name="connsiteX8" fmla="*/ 514350 w 571501"/>
              <a:gd name="connsiteY8" fmla="*/ 215900 h 260529"/>
              <a:gd name="connsiteX9" fmla="*/ 549275 w 571501"/>
              <a:gd name="connsiteY9" fmla="*/ 184150 h 260529"/>
              <a:gd name="connsiteX10" fmla="*/ 558800 w 571501"/>
              <a:gd name="connsiteY10" fmla="*/ 171450 h 260529"/>
              <a:gd name="connsiteX11" fmla="*/ 561975 w 571501"/>
              <a:gd name="connsiteY11" fmla="*/ 161925 h 260529"/>
              <a:gd name="connsiteX12" fmla="*/ 565150 w 571501"/>
              <a:gd name="connsiteY12" fmla="*/ 142875 h 260529"/>
              <a:gd name="connsiteX13" fmla="*/ 568325 w 571501"/>
              <a:gd name="connsiteY13" fmla="*/ 127000 h 260529"/>
              <a:gd name="connsiteX14" fmla="*/ 571500 w 571501"/>
              <a:gd name="connsiteY14" fmla="*/ 41275 h 260529"/>
              <a:gd name="connsiteX15" fmla="*/ 0 w 571501"/>
              <a:gd name="connsiteY15" fmla="*/ 0 h 260529"/>
              <a:gd name="connsiteX0" fmla="*/ 0 w 571501"/>
              <a:gd name="connsiteY0" fmla="*/ 0 h 256585"/>
              <a:gd name="connsiteX1" fmla="*/ 0 w 571501"/>
              <a:gd name="connsiteY1" fmla="*/ 0 h 256585"/>
              <a:gd name="connsiteX2" fmla="*/ 38100 w 571501"/>
              <a:gd name="connsiteY2" fmla="*/ 76200 h 256585"/>
              <a:gd name="connsiteX3" fmla="*/ 57150 w 571501"/>
              <a:gd name="connsiteY3" fmla="*/ 127000 h 256585"/>
              <a:gd name="connsiteX4" fmla="*/ 73025 w 571501"/>
              <a:gd name="connsiteY4" fmla="*/ 152400 h 256585"/>
              <a:gd name="connsiteX5" fmla="*/ 196850 w 571501"/>
              <a:gd name="connsiteY5" fmla="*/ 254000 h 256585"/>
              <a:gd name="connsiteX6" fmla="*/ 498475 w 571501"/>
              <a:gd name="connsiteY6" fmla="*/ 225425 h 256585"/>
              <a:gd name="connsiteX7" fmla="*/ 514350 w 571501"/>
              <a:gd name="connsiteY7" fmla="*/ 215900 h 256585"/>
              <a:gd name="connsiteX8" fmla="*/ 549275 w 571501"/>
              <a:gd name="connsiteY8" fmla="*/ 184150 h 256585"/>
              <a:gd name="connsiteX9" fmla="*/ 558800 w 571501"/>
              <a:gd name="connsiteY9" fmla="*/ 171450 h 256585"/>
              <a:gd name="connsiteX10" fmla="*/ 561975 w 571501"/>
              <a:gd name="connsiteY10" fmla="*/ 161925 h 256585"/>
              <a:gd name="connsiteX11" fmla="*/ 565150 w 571501"/>
              <a:gd name="connsiteY11" fmla="*/ 142875 h 256585"/>
              <a:gd name="connsiteX12" fmla="*/ 568325 w 571501"/>
              <a:gd name="connsiteY12" fmla="*/ 127000 h 256585"/>
              <a:gd name="connsiteX13" fmla="*/ 571500 w 571501"/>
              <a:gd name="connsiteY13" fmla="*/ 41275 h 256585"/>
              <a:gd name="connsiteX14" fmla="*/ 0 w 571501"/>
              <a:gd name="connsiteY14" fmla="*/ 0 h 256585"/>
              <a:gd name="connsiteX0" fmla="*/ 0 w 571501"/>
              <a:gd name="connsiteY0" fmla="*/ 0 h 255879"/>
              <a:gd name="connsiteX1" fmla="*/ 0 w 571501"/>
              <a:gd name="connsiteY1" fmla="*/ 0 h 255879"/>
              <a:gd name="connsiteX2" fmla="*/ 38100 w 571501"/>
              <a:gd name="connsiteY2" fmla="*/ 76200 h 255879"/>
              <a:gd name="connsiteX3" fmla="*/ 57150 w 571501"/>
              <a:gd name="connsiteY3" fmla="*/ 127000 h 255879"/>
              <a:gd name="connsiteX4" fmla="*/ 73025 w 571501"/>
              <a:gd name="connsiteY4" fmla="*/ 152400 h 255879"/>
              <a:gd name="connsiteX5" fmla="*/ 196850 w 571501"/>
              <a:gd name="connsiteY5" fmla="*/ 254000 h 255879"/>
              <a:gd name="connsiteX6" fmla="*/ 514350 w 571501"/>
              <a:gd name="connsiteY6" fmla="*/ 215900 h 255879"/>
              <a:gd name="connsiteX7" fmla="*/ 549275 w 571501"/>
              <a:gd name="connsiteY7" fmla="*/ 184150 h 255879"/>
              <a:gd name="connsiteX8" fmla="*/ 558800 w 571501"/>
              <a:gd name="connsiteY8" fmla="*/ 171450 h 255879"/>
              <a:gd name="connsiteX9" fmla="*/ 561975 w 571501"/>
              <a:gd name="connsiteY9" fmla="*/ 161925 h 255879"/>
              <a:gd name="connsiteX10" fmla="*/ 565150 w 571501"/>
              <a:gd name="connsiteY10" fmla="*/ 142875 h 255879"/>
              <a:gd name="connsiteX11" fmla="*/ 568325 w 571501"/>
              <a:gd name="connsiteY11" fmla="*/ 127000 h 255879"/>
              <a:gd name="connsiteX12" fmla="*/ 571500 w 571501"/>
              <a:gd name="connsiteY12" fmla="*/ 41275 h 255879"/>
              <a:gd name="connsiteX13" fmla="*/ 0 w 571501"/>
              <a:gd name="connsiteY13" fmla="*/ 0 h 255879"/>
              <a:gd name="connsiteX0" fmla="*/ 0 w 571501"/>
              <a:gd name="connsiteY0" fmla="*/ 0 h 255879"/>
              <a:gd name="connsiteX1" fmla="*/ 0 w 571501"/>
              <a:gd name="connsiteY1" fmla="*/ 0 h 255879"/>
              <a:gd name="connsiteX2" fmla="*/ 38100 w 571501"/>
              <a:gd name="connsiteY2" fmla="*/ 76200 h 255879"/>
              <a:gd name="connsiteX3" fmla="*/ 57150 w 571501"/>
              <a:gd name="connsiteY3" fmla="*/ 127000 h 255879"/>
              <a:gd name="connsiteX4" fmla="*/ 73025 w 571501"/>
              <a:gd name="connsiteY4" fmla="*/ 152400 h 255879"/>
              <a:gd name="connsiteX5" fmla="*/ 196850 w 571501"/>
              <a:gd name="connsiteY5" fmla="*/ 254000 h 255879"/>
              <a:gd name="connsiteX6" fmla="*/ 514350 w 571501"/>
              <a:gd name="connsiteY6" fmla="*/ 215900 h 255879"/>
              <a:gd name="connsiteX7" fmla="*/ 549275 w 571501"/>
              <a:gd name="connsiteY7" fmla="*/ 184150 h 255879"/>
              <a:gd name="connsiteX8" fmla="*/ 561975 w 571501"/>
              <a:gd name="connsiteY8" fmla="*/ 161925 h 255879"/>
              <a:gd name="connsiteX9" fmla="*/ 565150 w 571501"/>
              <a:gd name="connsiteY9" fmla="*/ 142875 h 255879"/>
              <a:gd name="connsiteX10" fmla="*/ 568325 w 571501"/>
              <a:gd name="connsiteY10" fmla="*/ 127000 h 255879"/>
              <a:gd name="connsiteX11" fmla="*/ 571500 w 571501"/>
              <a:gd name="connsiteY11" fmla="*/ 41275 h 255879"/>
              <a:gd name="connsiteX12" fmla="*/ 0 w 571501"/>
              <a:gd name="connsiteY12" fmla="*/ 0 h 255879"/>
              <a:gd name="connsiteX0" fmla="*/ 0 w 571501"/>
              <a:gd name="connsiteY0" fmla="*/ 0 h 255879"/>
              <a:gd name="connsiteX1" fmla="*/ 0 w 571501"/>
              <a:gd name="connsiteY1" fmla="*/ 0 h 255879"/>
              <a:gd name="connsiteX2" fmla="*/ 38100 w 571501"/>
              <a:gd name="connsiteY2" fmla="*/ 76200 h 255879"/>
              <a:gd name="connsiteX3" fmla="*/ 57150 w 571501"/>
              <a:gd name="connsiteY3" fmla="*/ 127000 h 255879"/>
              <a:gd name="connsiteX4" fmla="*/ 73025 w 571501"/>
              <a:gd name="connsiteY4" fmla="*/ 152400 h 255879"/>
              <a:gd name="connsiteX5" fmla="*/ 196850 w 571501"/>
              <a:gd name="connsiteY5" fmla="*/ 254000 h 255879"/>
              <a:gd name="connsiteX6" fmla="*/ 514350 w 571501"/>
              <a:gd name="connsiteY6" fmla="*/ 215900 h 255879"/>
              <a:gd name="connsiteX7" fmla="*/ 549275 w 571501"/>
              <a:gd name="connsiteY7" fmla="*/ 184150 h 255879"/>
              <a:gd name="connsiteX8" fmla="*/ 561975 w 571501"/>
              <a:gd name="connsiteY8" fmla="*/ 161925 h 255879"/>
              <a:gd name="connsiteX9" fmla="*/ 568325 w 571501"/>
              <a:gd name="connsiteY9" fmla="*/ 127000 h 255879"/>
              <a:gd name="connsiteX10" fmla="*/ 571500 w 571501"/>
              <a:gd name="connsiteY10" fmla="*/ 41275 h 255879"/>
              <a:gd name="connsiteX11" fmla="*/ 0 w 571501"/>
              <a:gd name="connsiteY11" fmla="*/ 0 h 255879"/>
              <a:gd name="connsiteX0" fmla="*/ 0 w 611549"/>
              <a:gd name="connsiteY0" fmla="*/ 0 h 255879"/>
              <a:gd name="connsiteX1" fmla="*/ 0 w 611549"/>
              <a:gd name="connsiteY1" fmla="*/ 0 h 255879"/>
              <a:gd name="connsiteX2" fmla="*/ 38100 w 611549"/>
              <a:gd name="connsiteY2" fmla="*/ 76200 h 255879"/>
              <a:gd name="connsiteX3" fmla="*/ 57150 w 611549"/>
              <a:gd name="connsiteY3" fmla="*/ 127000 h 255879"/>
              <a:gd name="connsiteX4" fmla="*/ 73025 w 611549"/>
              <a:gd name="connsiteY4" fmla="*/ 152400 h 255879"/>
              <a:gd name="connsiteX5" fmla="*/ 196850 w 611549"/>
              <a:gd name="connsiteY5" fmla="*/ 254000 h 255879"/>
              <a:gd name="connsiteX6" fmla="*/ 514350 w 611549"/>
              <a:gd name="connsiteY6" fmla="*/ 215900 h 255879"/>
              <a:gd name="connsiteX7" fmla="*/ 549275 w 611549"/>
              <a:gd name="connsiteY7" fmla="*/ 184150 h 255879"/>
              <a:gd name="connsiteX8" fmla="*/ 561975 w 611549"/>
              <a:gd name="connsiteY8" fmla="*/ 161925 h 255879"/>
              <a:gd name="connsiteX9" fmla="*/ 571500 w 611549"/>
              <a:gd name="connsiteY9" fmla="*/ 41275 h 255879"/>
              <a:gd name="connsiteX10" fmla="*/ 0 w 611549"/>
              <a:gd name="connsiteY10" fmla="*/ 0 h 255879"/>
              <a:gd name="connsiteX0" fmla="*/ 0 w 608871"/>
              <a:gd name="connsiteY0" fmla="*/ 0 h 255879"/>
              <a:gd name="connsiteX1" fmla="*/ 0 w 608871"/>
              <a:gd name="connsiteY1" fmla="*/ 0 h 255879"/>
              <a:gd name="connsiteX2" fmla="*/ 38100 w 608871"/>
              <a:gd name="connsiteY2" fmla="*/ 76200 h 255879"/>
              <a:gd name="connsiteX3" fmla="*/ 57150 w 608871"/>
              <a:gd name="connsiteY3" fmla="*/ 127000 h 255879"/>
              <a:gd name="connsiteX4" fmla="*/ 73025 w 608871"/>
              <a:gd name="connsiteY4" fmla="*/ 152400 h 255879"/>
              <a:gd name="connsiteX5" fmla="*/ 196850 w 608871"/>
              <a:gd name="connsiteY5" fmla="*/ 254000 h 255879"/>
              <a:gd name="connsiteX6" fmla="*/ 514350 w 608871"/>
              <a:gd name="connsiteY6" fmla="*/ 215900 h 255879"/>
              <a:gd name="connsiteX7" fmla="*/ 549275 w 608871"/>
              <a:gd name="connsiteY7" fmla="*/ 184150 h 255879"/>
              <a:gd name="connsiteX8" fmla="*/ 571500 w 608871"/>
              <a:gd name="connsiteY8" fmla="*/ 41275 h 255879"/>
              <a:gd name="connsiteX9" fmla="*/ 0 w 608871"/>
              <a:gd name="connsiteY9" fmla="*/ 0 h 255879"/>
              <a:gd name="connsiteX0" fmla="*/ 0 w 608808"/>
              <a:gd name="connsiteY0" fmla="*/ 0 h 257545"/>
              <a:gd name="connsiteX1" fmla="*/ 0 w 608808"/>
              <a:gd name="connsiteY1" fmla="*/ 0 h 257545"/>
              <a:gd name="connsiteX2" fmla="*/ 38100 w 608808"/>
              <a:gd name="connsiteY2" fmla="*/ 76200 h 257545"/>
              <a:gd name="connsiteX3" fmla="*/ 57150 w 608808"/>
              <a:gd name="connsiteY3" fmla="*/ 127000 h 257545"/>
              <a:gd name="connsiteX4" fmla="*/ 73025 w 608808"/>
              <a:gd name="connsiteY4" fmla="*/ 152400 h 257545"/>
              <a:gd name="connsiteX5" fmla="*/ 196850 w 608808"/>
              <a:gd name="connsiteY5" fmla="*/ 254000 h 257545"/>
              <a:gd name="connsiteX6" fmla="*/ 514350 w 608808"/>
              <a:gd name="connsiteY6" fmla="*/ 215900 h 257545"/>
              <a:gd name="connsiteX7" fmla="*/ 571500 w 608808"/>
              <a:gd name="connsiteY7" fmla="*/ 41275 h 257545"/>
              <a:gd name="connsiteX8" fmla="*/ 0 w 608808"/>
              <a:gd name="connsiteY8" fmla="*/ 0 h 257545"/>
              <a:gd name="connsiteX0" fmla="*/ 0 w 608808"/>
              <a:gd name="connsiteY0" fmla="*/ 0 h 259288"/>
              <a:gd name="connsiteX1" fmla="*/ 0 w 608808"/>
              <a:gd name="connsiteY1" fmla="*/ 0 h 259288"/>
              <a:gd name="connsiteX2" fmla="*/ 38100 w 608808"/>
              <a:gd name="connsiteY2" fmla="*/ 76200 h 259288"/>
              <a:gd name="connsiteX3" fmla="*/ 57150 w 608808"/>
              <a:gd name="connsiteY3" fmla="*/ 127000 h 259288"/>
              <a:gd name="connsiteX4" fmla="*/ 196850 w 608808"/>
              <a:gd name="connsiteY4" fmla="*/ 254000 h 259288"/>
              <a:gd name="connsiteX5" fmla="*/ 514350 w 608808"/>
              <a:gd name="connsiteY5" fmla="*/ 215900 h 259288"/>
              <a:gd name="connsiteX6" fmla="*/ 571500 w 608808"/>
              <a:gd name="connsiteY6" fmla="*/ 41275 h 259288"/>
              <a:gd name="connsiteX7" fmla="*/ 0 w 608808"/>
              <a:gd name="connsiteY7" fmla="*/ 0 h 259288"/>
              <a:gd name="connsiteX0" fmla="*/ 0 w 608808"/>
              <a:gd name="connsiteY0" fmla="*/ 0 h 262880"/>
              <a:gd name="connsiteX1" fmla="*/ 0 w 608808"/>
              <a:gd name="connsiteY1" fmla="*/ 0 h 262880"/>
              <a:gd name="connsiteX2" fmla="*/ 38100 w 608808"/>
              <a:gd name="connsiteY2" fmla="*/ 76200 h 262880"/>
              <a:gd name="connsiteX3" fmla="*/ 196850 w 608808"/>
              <a:gd name="connsiteY3" fmla="*/ 254000 h 262880"/>
              <a:gd name="connsiteX4" fmla="*/ 514350 w 608808"/>
              <a:gd name="connsiteY4" fmla="*/ 215900 h 262880"/>
              <a:gd name="connsiteX5" fmla="*/ 571500 w 608808"/>
              <a:gd name="connsiteY5" fmla="*/ 41275 h 262880"/>
              <a:gd name="connsiteX6" fmla="*/ 0 w 608808"/>
              <a:gd name="connsiteY6" fmla="*/ 0 h 262880"/>
              <a:gd name="connsiteX0" fmla="*/ 0 w 608808"/>
              <a:gd name="connsiteY0" fmla="*/ 0 h 268385"/>
              <a:gd name="connsiteX1" fmla="*/ 0 w 608808"/>
              <a:gd name="connsiteY1" fmla="*/ 0 h 268385"/>
              <a:gd name="connsiteX2" fmla="*/ 196850 w 608808"/>
              <a:gd name="connsiteY2" fmla="*/ 254000 h 268385"/>
              <a:gd name="connsiteX3" fmla="*/ 514350 w 608808"/>
              <a:gd name="connsiteY3" fmla="*/ 215900 h 268385"/>
              <a:gd name="connsiteX4" fmla="*/ 571500 w 608808"/>
              <a:gd name="connsiteY4" fmla="*/ 41275 h 268385"/>
              <a:gd name="connsiteX5" fmla="*/ 0 w 608808"/>
              <a:gd name="connsiteY5" fmla="*/ 0 h 268385"/>
              <a:gd name="connsiteX0" fmla="*/ 0 w 616241"/>
              <a:gd name="connsiteY0" fmla="*/ 0 h 216135"/>
              <a:gd name="connsiteX1" fmla="*/ 0 w 616241"/>
              <a:gd name="connsiteY1" fmla="*/ 0 h 216135"/>
              <a:gd name="connsiteX2" fmla="*/ 514350 w 616241"/>
              <a:gd name="connsiteY2" fmla="*/ 215900 h 216135"/>
              <a:gd name="connsiteX3" fmla="*/ 571500 w 616241"/>
              <a:gd name="connsiteY3" fmla="*/ 41275 h 216135"/>
              <a:gd name="connsiteX4" fmla="*/ 0 w 616241"/>
              <a:gd name="connsiteY4" fmla="*/ 0 h 216135"/>
              <a:gd name="connsiteX0" fmla="*/ 0 w 951018"/>
              <a:gd name="connsiteY0" fmla="*/ 0 h 266803"/>
              <a:gd name="connsiteX1" fmla="*/ 0 w 951018"/>
              <a:gd name="connsiteY1" fmla="*/ 0 h 266803"/>
              <a:gd name="connsiteX2" fmla="*/ 514350 w 951018"/>
              <a:gd name="connsiteY2" fmla="*/ 215900 h 266803"/>
              <a:gd name="connsiteX3" fmla="*/ 937785 w 951018"/>
              <a:gd name="connsiteY3" fmla="*/ 250462 h 266803"/>
              <a:gd name="connsiteX4" fmla="*/ 0 w 951018"/>
              <a:gd name="connsiteY4" fmla="*/ 0 h 266803"/>
              <a:gd name="connsiteX0" fmla="*/ 0 w 952649"/>
              <a:gd name="connsiteY0" fmla="*/ 0 h 359410"/>
              <a:gd name="connsiteX1" fmla="*/ 0 w 952649"/>
              <a:gd name="connsiteY1" fmla="*/ 0 h 359410"/>
              <a:gd name="connsiteX2" fmla="*/ 560948 w 952649"/>
              <a:gd name="connsiteY2" fmla="*/ 349763 h 359410"/>
              <a:gd name="connsiteX3" fmla="*/ 937785 w 952649"/>
              <a:gd name="connsiteY3" fmla="*/ 250462 h 359410"/>
              <a:gd name="connsiteX4" fmla="*/ 0 w 952649"/>
              <a:gd name="connsiteY4" fmla="*/ 0 h 359410"/>
              <a:gd name="connsiteX0" fmla="*/ 0 w 951175"/>
              <a:gd name="connsiteY0" fmla="*/ 0 h 388213"/>
              <a:gd name="connsiteX1" fmla="*/ 0 w 951175"/>
              <a:gd name="connsiteY1" fmla="*/ 0 h 388213"/>
              <a:gd name="connsiteX2" fmla="*/ 560948 w 951175"/>
              <a:gd name="connsiteY2" fmla="*/ 349763 h 388213"/>
              <a:gd name="connsiteX3" fmla="*/ 937785 w 951175"/>
              <a:gd name="connsiteY3" fmla="*/ 250462 h 388213"/>
              <a:gd name="connsiteX4" fmla="*/ 0 w 951175"/>
              <a:gd name="connsiteY4" fmla="*/ 0 h 388213"/>
              <a:gd name="connsiteX0" fmla="*/ 0 w 950671"/>
              <a:gd name="connsiteY0" fmla="*/ 0 h 394225"/>
              <a:gd name="connsiteX1" fmla="*/ 0 w 950671"/>
              <a:gd name="connsiteY1" fmla="*/ 0 h 394225"/>
              <a:gd name="connsiteX2" fmla="*/ 560948 w 950671"/>
              <a:gd name="connsiteY2" fmla="*/ 349763 h 394225"/>
              <a:gd name="connsiteX3" fmla="*/ 937785 w 950671"/>
              <a:gd name="connsiteY3" fmla="*/ 250462 h 394225"/>
              <a:gd name="connsiteX4" fmla="*/ 0 w 950671"/>
              <a:gd name="connsiteY4" fmla="*/ 0 h 394225"/>
              <a:gd name="connsiteX0" fmla="*/ 0 w 1013800"/>
              <a:gd name="connsiteY0" fmla="*/ 0 h 358185"/>
              <a:gd name="connsiteX1" fmla="*/ 0 w 1013800"/>
              <a:gd name="connsiteY1" fmla="*/ 0 h 358185"/>
              <a:gd name="connsiteX2" fmla="*/ 560948 w 1013800"/>
              <a:gd name="connsiteY2" fmla="*/ 349763 h 358185"/>
              <a:gd name="connsiteX3" fmla="*/ 1000761 w 1013800"/>
              <a:gd name="connsiteY3" fmla="*/ 240137 h 358185"/>
              <a:gd name="connsiteX4" fmla="*/ 0 w 1013800"/>
              <a:gd name="connsiteY4" fmla="*/ 0 h 358185"/>
              <a:gd name="connsiteX0" fmla="*/ 0 w 1000761"/>
              <a:gd name="connsiteY0" fmla="*/ 0 h 360669"/>
              <a:gd name="connsiteX1" fmla="*/ 0 w 1000761"/>
              <a:gd name="connsiteY1" fmla="*/ 0 h 360669"/>
              <a:gd name="connsiteX2" fmla="*/ 560948 w 1000761"/>
              <a:gd name="connsiteY2" fmla="*/ 349763 h 360669"/>
              <a:gd name="connsiteX3" fmla="*/ 1000761 w 1000761"/>
              <a:gd name="connsiteY3" fmla="*/ 240137 h 360669"/>
              <a:gd name="connsiteX4" fmla="*/ 0 w 1000761"/>
              <a:gd name="connsiteY4" fmla="*/ 0 h 360669"/>
              <a:gd name="connsiteX0" fmla="*/ 0 w 1000761"/>
              <a:gd name="connsiteY0" fmla="*/ 0 h 360669"/>
              <a:gd name="connsiteX1" fmla="*/ 0 w 1000761"/>
              <a:gd name="connsiteY1" fmla="*/ 0 h 360669"/>
              <a:gd name="connsiteX2" fmla="*/ 560948 w 1000761"/>
              <a:gd name="connsiteY2" fmla="*/ 349763 h 360669"/>
              <a:gd name="connsiteX3" fmla="*/ 1000761 w 1000761"/>
              <a:gd name="connsiteY3" fmla="*/ 240137 h 360669"/>
              <a:gd name="connsiteX4" fmla="*/ 0 w 1000761"/>
              <a:gd name="connsiteY4" fmla="*/ 0 h 360669"/>
              <a:gd name="connsiteX0" fmla="*/ 184154 w 1014864"/>
              <a:gd name="connsiteY0" fmla="*/ 0 h 539976"/>
              <a:gd name="connsiteX1" fmla="*/ 14103 w 1014864"/>
              <a:gd name="connsiteY1" fmla="*/ 179307 h 539976"/>
              <a:gd name="connsiteX2" fmla="*/ 575051 w 1014864"/>
              <a:gd name="connsiteY2" fmla="*/ 529070 h 539976"/>
              <a:gd name="connsiteX3" fmla="*/ 1014864 w 1014864"/>
              <a:gd name="connsiteY3" fmla="*/ 419444 h 539976"/>
              <a:gd name="connsiteX4" fmla="*/ 184154 w 1014864"/>
              <a:gd name="connsiteY4" fmla="*/ 0 h 539976"/>
              <a:gd name="connsiteX0" fmla="*/ 10607 w 841317"/>
              <a:gd name="connsiteY0" fmla="*/ 0 h 551726"/>
              <a:gd name="connsiteX1" fmla="*/ 401504 w 841317"/>
              <a:gd name="connsiteY1" fmla="*/ 529070 h 551726"/>
              <a:gd name="connsiteX2" fmla="*/ 841317 w 841317"/>
              <a:gd name="connsiteY2" fmla="*/ 419444 h 551726"/>
              <a:gd name="connsiteX3" fmla="*/ 10607 w 841317"/>
              <a:gd name="connsiteY3" fmla="*/ 0 h 551726"/>
              <a:gd name="connsiteX0" fmla="*/ 6995 w 1074300"/>
              <a:gd name="connsiteY0" fmla="*/ 0 h 356223"/>
              <a:gd name="connsiteX1" fmla="*/ 634487 w 1074300"/>
              <a:gd name="connsiteY1" fmla="*/ 345576 h 356223"/>
              <a:gd name="connsiteX2" fmla="*/ 1074300 w 1074300"/>
              <a:gd name="connsiteY2" fmla="*/ 235950 h 356223"/>
              <a:gd name="connsiteX3" fmla="*/ 6995 w 1074300"/>
              <a:gd name="connsiteY3" fmla="*/ 0 h 356223"/>
              <a:gd name="connsiteX0" fmla="*/ 0 w 1067305"/>
              <a:gd name="connsiteY0" fmla="*/ 0 h 356223"/>
              <a:gd name="connsiteX1" fmla="*/ 627492 w 1067305"/>
              <a:gd name="connsiteY1" fmla="*/ 345576 h 356223"/>
              <a:gd name="connsiteX2" fmla="*/ 1067305 w 1067305"/>
              <a:gd name="connsiteY2" fmla="*/ 235950 h 356223"/>
              <a:gd name="connsiteX3" fmla="*/ 0 w 1067305"/>
              <a:gd name="connsiteY3" fmla="*/ 0 h 356223"/>
              <a:gd name="connsiteX0" fmla="*/ 0 w 1067305"/>
              <a:gd name="connsiteY0" fmla="*/ 2769 h 358992"/>
              <a:gd name="connsiteX1" fmla="*/ 627492 w 1067305"/>
              <a:gd name="connsiteY1" fmla="*/ 348345 h 358992"/>
              <a:gd name="connsiteX2" fmla="*/ 1067305 w 1067305"/>
              <a:gd name="connsiteY2" fmla="*/ 238719 h 358992"/>
              <a:gd name="connsiteX3" fmla="*/ 0 w 1067305"/>
              <a:gd name="connsiteY3" fmla="*/ 2769 h 358992"/>
              <a:gd name="connsiteX0" fmla="*/ 0 w 1067604"/>
              <a:gd name="connsiteY0" fmla="*/ 2688 h 363959"/>
              <a:gd name="connsiteX1" fmla="*/ 627791 w 1067604"/>
              <a:gd name="connsiteY1" fmla="*/ 353018 h 363959"/>
              <a:gd name="connsiteX2" fmla="*/ 1067604 w 1067604"/>
              <a:gd name="connsiteY2" fmla="*/ 243392 h 363959"/>
              <a:gd name="connsiteX3" fmla="*/ 0 w 1067604"/>
              <a:gd name="connsiteY3" fmla="*/ 2688 h 363959"/>
              <a:gd name="connsiteX0" fmla="*/ 0 w 1067604"/>
              <a:gd name="connsiteY0" fmla="*/ 2688 h 363959"/>
              <a:gd name="connsiteX1" fmla="*/ 627791 w 1067604"/>
              <a:gd name="connsiteY1" fmla="*/ 353018 h 363959"/>
              <a:gd name="connsiteX2" fmla="*/ 1067604 w 1067604"/>
              <a:gd name="connsiteY2" fmla="*/ 243392 h 363959"/>
              <a:gd name="connsiteX3" fmla="*/ 0 w 1067604"/>
              <a:gd name="connsiteY3" fmla="*/ 2688 h 363959"/>
              <a:gd name="connsiteX0" fmla="*/ 0 w 1067604"/>
              <a:gd name="connsiteY0" fmla="*/ 2688 h 420884"/>
              <a:gd name="connsiteX1" fmla="*/ 627791 w 1067604"/>
              <a:gd name="connsiteY1" fmla="*/ 353018 h 420884"/>
              <a:gd name="connsiteX2" fmla="*/ 1067604 w 1067604"/>
              <a:gd name="connsiteY2" fmla="*/ 243392 h 420884"/>
              <a:gd name="connsiteX3" fmla="*/ 0 w 1067604"/>
              <a:gd name="connsiteY3" fmla="*/ 2688 h 420884"/>
              <a:gd name="connsiteX0" fmla="*/ 0 w 1067604"/>
              <a:gd name="connsiteY0" fmla="*/ 2688 h 420884"/>
              <a:gd name="connsiteX1" fmla="*/ 627791 w 1067604"/>
              <a:gd name="connsiteY1" fmla="*/ 353018 h 420884"/>
              <a:gd name="connsiteX2" fmla="*/ 1067604 w 1067604"/>
              <a:gd name="connsiteY2" fmla="*/ 243392 h 420884"/>
              <a:gd name="connsiteX3" fmla="*/ 0 w 1067604"/>
              <a:gd name="connsiteY3" fmla="*/ 2688 h 420884"/>
              <a:gd name="connsiteX0" fmla="*/ 0 w 1067604"/>
              <a:gd name="connsiteY0" fmla="*/ 2688 h 420884"/>
              <a:gd name="connsiteX1" fmla="*/ 627791 w 1067604"/>
              <a:gd name="connsiteY1" fmla="*/ 353018 h 420884"/>
              <a:gd name="connsiteX2" fmla="*/ 1067604 w 1067604"/>
              <a:gd name="connsiteY2" fmla="*/ 243392 h 420884"/>
              <a:gd name="connsiteX3" fmla="*/ 0 w 1067604"/>
              <a:gd name="connsiteY3" fmla="*/ 2688 h 420884"/>
              <a:gd name="connsiteX0" fmla="*/ 0 w 1067604"/>
              <a:gd name="connsiteY0" fmla="*/ 2688 h 376481"/>
              <a:gd name="connsiteX1" fmla="*/ 550231 w 1067604"/>
              <a:gd name="connsiteY1" fmla="*/ 295862 h 376481"/>
              <a:gd name="connsiteX2" fmla="*/ 1067604 w 1067604"/>
              <a:gd name="connsiteY2" fmla="*/ 243392 h 376481"/>
              <a:gd name="connsiteX3" fmla="*/ 0 w 1067604"/>
              <a:gd name="connsiteY3" fmla="*/ 2688 h 376481"/>
              <a:gd name="connsiteX0" fmla="*/ 0 w 1067604"/>
              <a:gd name="connsiteY0" fmla="*/ 2688 h 376481"/>
              <a:gd name="connsiteX1" fmla="*/ 550231 w 1067604"/>
              <a:gd name="connsiteY1" fmla="*/ 295862 h 376481"/>
              <a:gd name="connsiteX2" fmla="*/ 1067604 w 1067604"/>
              <a:gd name="connsiteY2" fmla="*/ 243392 h 376481"/>
              <a:gd name="connsiteX3" fmla="*/ 0 w 1067604"/>
              <a:gd name="connsiteY3" fmla="*/ 2688 h 376481"/>
              <a:gd name="connsiteX0" fmla="*/ 0 w 1067604"/>
              <a:gd name="connsiteY0" fmla="*/ 2688 h 376481"/>
              <a:gd name="connsiteX1" fmla="*/ 550231 w 1067604"/>
              <a:gd name="connsiteY1" fmla="*/ 295862 h 376481"/>
              <a:gd name="connsiteX2" fmla="*/ 1067604 w 1067604"/>
              <a:gd name="connsiteY2" fmla="*/ 243392 h 376481"/>
              <a:gd name="connsiteX3" fmla="*/ 0 w 1067604"/>
              <a:gd name="connsiteY3" fmla="*/ 2688 h 376481"/>
              <a:gd name="connsiteX0" fmla="*/ 0 w 1067604"/>
              <a:gd name="connsiteY0" fmla="*/ 13070 h 386863"/>
              <a:gd name="connsiteX1" fmla="*/ 550231 w 1067604"/>
              <a:gd name="connsiteY1" fmla="*/ 306244 h 386863"/>
              <a:gd name="connsiteX2" fmla="*/ 1067604 w 1067604"/>
              <a:gd name="connsiteY2" fmla="*/ 253774 h 386863"/>
              <a:gd name="connsiteX3" fmla="*/ 0 w 1067604"/>
              <a:gd name="connsiteY3" fmla="*/ 13070 h 386863"/>
              <a:gd name="connsiteX0" fmla="*/ 0 w 1205463"/>
              <a:gd name="connsiteY0" fmla="*/ 11620 h 393853"/>
              <a:gd name="connsiteX1" fmla="*/ 550231 w 1205463"/>
              <a:gd name="connsiteY1" fmla="*/ 304794 h 393853"/>
              <a:gd name="connsiteX2" fmla="*/ 1205463 w 1205463"/>
              <a:gd name="connsiteY2" fmla="*/ 281825 h 393853"/>
              <a:gd name="connsiteX3" fmla="*/ 0 w 1205463"/>
              <a:gd name="connsiteY3" fmla="*/ 11620 h 393853"/>
              <a:gd name="connsiteX0" fmla="*/ 0 w 1274833"/>
              <a:gd name="connsiteY0" fmla="*/ 11498 h 394611"/>
              <a:gd name="connsiteX1" fmla="*/ 550231 w 1274833"/>
              <a:gd name="connsiteY1" fmla="*/ 304672 h 394611"/>
              <a:gd name="connsiteX2" fmla="*/ 1274833 w 1274833"/>
              <a:gd name="connsiteY2" fmla="*/ 284496 h 394611"/>
              <a:gd name="connsiteX3" fmla="*/ 0 w 1274833"/>
              <a:gd name="connsiteY3" fmla="*/ 11498 h 394611"/>
              <a:gd name="connsiteX0" fmla="*/ 0 w 1370942"/>
              <a:gd name="connsiteY0" fmla="*/ 11057 h 397673"/>
              <a:gd name="connsiteX1" fmla="*/ 550231 w 1370942"/>
              <a:gd name="connsiteY1" fmla="*/ 304231 h 397673"/>
              <a:gd name="connsiteX2" fmla="*/ 1370942 w 1370942"/>
              <a:gd name="connsiteY2" fmla="*/ 294710 h 397673"/>
              <a:gd name="connsiteX3" fmla="*/ 0 w 1370942"/>
              <a:gd name="connsiteY3" fmla="*/ 11057 h 397673"/>
              <a:gd name="connsiteX0" fmla="*/ 0 w 1370942"/>
              <a:gd name="connsiteY0" fmla="*/ 9379 h 395995"/>
              <a:gd name="connsiteX1" fmla="*/ 550231 w 1370942"/>
              <a:gd name="connsiteY1" fmla="*/ 302553 h 395995"/>
              <a:gd name="connsiteX2" fmla="*/ 1370942 w 1370942"/>
              <a:gd name="connsiteY2" fmla="*/ 293032 h 395995"/>
              <a:gd name="connsiteX3" fmla="*/ 0 w 1370942"/>
              <a:gd name="connsiteY3" fmla="*/ 9379 h 395995"/>
              <a:gd name="connsiteX0" fmla="*/ 0 w 1370942"/>
              <a:gd name="connsiteY0" fmla="*/ 10257 h 396873"/>
              <a:gd name="connsiteX1" fmla="*/ 550231 w 1370942"/>
              <a:gd name="connsiteY1" fmla="*/ 303431 h 396873"/>
              <a:gd name="connsiteX2" fmla="*/ 1370942 w 1370942"/>
              <a:gd name="connsiteY2" fmla="*/ 293910 h 396873"/>
              <a:gd name="connsiteX3" fmla="*/ 0 w 1370942"/>
              <a:gd name="connsiteY3" fmla="*/ 10257 h 396873"/>
              <a:gd name="connsiteX0" fmla="*/ 0 w 1342990"/>
              <a:gd name="connsiteY0" fmla="*/ 13116 h 381487"/>
              <a:gd name="connsiteX1" fmla="*/ 550231 w 1342990"/>
              <a:gd name="connsiteY1" fmla="*/ 306290 h 381487"/>
              <a:gd name="connsiteX2" fmla="*/ 1342990 w 1342990"/>
              <a:gd name="connsiteY2" fmla="*/ 231720 h 381487"/>
              <a:gd name="connsiteX3" fmla="*/ 0 w 1342990"/>
              <a:gd name="connsiteY3" fmla="*/ 13116 h 381487"/>
              <a:gd name="connsiteX0" fmla="*/ 0 w 1342990"/>
              <a:gd name="connsiteY0" fmla="*/ 10350 h 378721"/>
              <a:gd name="connsiteX1" fmla="*/ 550231 w 1342990"/>
              <a:gd name="connsiteY1" fmla="*/ 303524 h 378721"/>
              <a:gd name="connsiteX2" fmla="*/ 1342990 w 1342990"/>
              <a:gd name="connsiteY2" fmla="*/ 228954 h 378721"/>
              <a:gd name="connsiteX3" fmla="*/ 0 w 1342990"/>
              <a:gd name="connsiteY3" fmla="*/ 10350 h 378721"/>
              <a:gd name="connsiteX0" fmla="*/ 0 w 1342990"/>
              <a:gd name="connsiteY0" fmla="*/ 10350 h 391478"/>
              <a:gd name="connsiteX1" fmla="*/ 517856 w 1342990"/>
              <a:gd name="connsiteY1" fmla="*/ 319876 h 391478"/>
              <a:gd name="connsiteX2" fmla="*/ 1342990 w 1342990"/>
              <a:gd name="connsiteY2" fmla="*/ 228954 h 391478"/>
              <a:gd name="connsiteX3" fmla="*/ 0 w 1342990"/>
              <a:gd name="connsiteY3" fmla="*/ 10350 h 391478"/>
              <a:gd name="connsiteX0" fmla="*/ 0 w 1342990"/>
              <a:gd name="connsiteY0" fmla="*/ 10350 h 391478"/>
              <a:gd name="connsiteX1" fmla="*/ 517856 w 1342990"/>
              <a:gd name="connsiteY1" fmla="*/ 319876 h 391478"/>
              <a:gd name="connsiteX2" fmla="*/ 1342990 w 1342990"/>
              <a:gd name="connsiteY2" fmla="*/ 228954 h 391478"/>
              <a:gd name="connsiteX3" fmla="*/ 0 w 1342990"/>
              <a:gd name="connsiteY3" fmla="*/ 10350 h 391478"/>
              <a:gd name="connsiteX0" fmla="*/ 0 w 1342990"/>
              <a:gd name="connsiteY0" fmla="*/ 10350 h 391478"/>
              <a:gd name="connsiteX1" fmla="*/ 517856 w 1342990"/>
              <a:gd name="connsiteY1" fmla="*/ 319876 h 391478"/>
              <a:gd name="connsiteX2" fmla="*/ 1342990 w 1342990"/>
              <a:gd name="connsiteY2" fmla="*/ 228954 h 391478"/>
              <a:gd name="connsiteX3" fmla="*/ 0 w 1342990"/>
              <a:gd name="connsiteY3" fmla="*/ 10350 h 391478"/>
              <a:gd name="connsiteX0" fmla="*/ 0 w 1342990"/>
              <a:gd name="connsiteY0" fmla="*/ 86 h 381214"/>
              <a:gd name="connsiteX1" fmla="*/ 517856 w 1342990"/>
              <a:gd name="connsiteY1" fmla="*/ 309612 h 381214"/>
              <a:gd name="connsiteX2" fmla="*/ 1342990 w 1342990"/>
              <a:gd name="connsiteY2" fmla="*/ 218690 h 381214"/>
              <a:gd name="connsiteX3" fmla="*/ 0 w 1342990"/>
              <a:gd name="connsiteY3" fmla="*/ 86 h 381214"/>
              <a:gd name="connsiteX0" fmla="*/ 0 w 1342990"/>
              <a:gd name="connsiteY0" fmla="*/ 0 h 381128"/>
              <a:gd name="connsiteX1" fmla="*/ 517856 w 1342990"/>
              <a:gd name="connsiteY1" fmla="*/ 309526 h 381128"/>
              <a:gd name="connsiteX2" fmla="*/ 1342990 w 1342990"/>
              <a:gd name="connsiteY2" fmla="*/ 218604 h 381128"/>
              <a:gd name="connsiteX3" fmla="*/ 0 w 1342990"/>
              <a:gd name="connsiteY3" fmla="*/ 0 h 381128"/>
              <a:gd name="connsiteX0" fmla="*/ 0 w 1342990"/>
              <a:gd name="connsiteY0" fmla="*/ 3269 h 384397"/>
              <a:gd name="connsiteX1" fmla="*/ 517856 w 1342990"/>
              <a:gd name="connsiteY1" fmla="*/ 312795 h 384397"/>
              <a:gd name="connsiteX2" fmla="*/ 1342990 w 1342990"/>
              <a:gd name="connsiteY2" fmla="*/ 221873 h 384397"/>
              <a:gd name="connsiteX3" fmla="*/ 0 w 1342990"/>
              <a:gd name="connsiteY3" fmla="*/ 3269 h 384397"/>
              <a:gd name="connsiteX0" fmla="*/ 0 w 1342990"/>
              <a:gd name="connsiteY0" fmla="*/ 4049 h 385177"/>
              <a:gd name="connsiteX1" fmla="*/ 517856 w 1342990"/>
              <a:gd name="connsiteY1" fmla="*/ 313575 h 385177"/>
              <a:gd name="connsiteX2" fmla="*/ 1342990 w 1342990"/>
              <a:gd name="connsiteY2" fmla="*/ 222653 h 385177"/>
              <a:gd name="connsiteX3" fmla="*/ 0 w 1342990"/>
              <a:gd name="connsiteY3" fmla="*/ 4049 h 385177"/>
              <a:gd name="connsiteX0" fmla="*/ 0 w 1342990"/>
              <a:gd name="connsiteY0" fmla="*/ 12604 h 393732"/>
              <a:gd name="connsiteX1" fmla="*/ 517856 w 1342990"/>
              <a:gd name="connsiteY1" fmla="*/ 322130 h 393732"/>
              <a:gd name="connsiteX2" fmla="*/ 1342990 w 1342990"/>
              <a:gd name="connsiteY2" fmla="*/ 231208 h 393732"/>
              <a:gd name="connsiteX3" fmla="*/ 0 w 1342990"/>
              <a:gd name="connsiteY3" fmla="*/ 12604 h 393732"/>
              <a:gd name="connsiteX0" fmla="*/ 0 w 1342990"/>
              <a:gd name="connsiteY0" fmla="*/ 40958 h 422086"/>
              <a:gd name="connsiteX1" fmla="*/ 517856 w 1342990"/>
              <a:gd name="connsiteY1" fmla="*/ 350484 h 422086"/>
              <a:gd name="connsiteX2" fmla="*/ 1342990 w 1342990"/>
              <a:gd name="connsiteY2" fmla="*/ 259562 h 422086"/>
              <a:gd name="connsiteX3" fmla="*/ 0 w 1342990"/>
              <a:gd name="connsiteY3" fmla="*/ 40958 h 422086"/>
              <a:gd name="connsiteX0" fmla="*/ 0 w 1461817"/>
              <a:gd name="connsiteY0" fmla="*/ 42424 h 416075"/>
              <a:gd name="connsiteX1" fmla="*/ 636683 w 1461817"/>
              <a:gd name="connsiteY1" fmla="*/ 344473 h 416075"/>
              <a:gd name="connsiteX2" fmla="*/ 1461817 w 1461817"/>
              <a:gd name="connsiteY2" fmla="*/ 253551 h 416075"/>
              <a:gd name="connsiteX3" fmla="*/ 0 w 1461817"/>
              <a:gd name="connsiteY3" fmla="*/ 42424 h 416075"/>
              <a:gd name="connsiteX0" fmla="*/ 0 w 1444433"/>
              <a:gd name="connsiteY0" fmla="*/ 44697 h 407511"/>
              <a:gd name="connsiteX1" fmla="*/ 619299 w 1444433"/>
              <a:gd name="connsiteY1" fmla="*/ 335909 h 407511"/>
              <a:gd name="connsiteX2" fmla="*/ 1444433 w 1444433"/>
              <a:gd name="connsiteY2" fmla="*/ 244987 h 407511"/>
              <a:gd name="connsiteX3" fmla="*/ 0 w 1444433"/>
              <a:gd name="connsiteY3" fmla="*/ 44697 h 407511"/>
              <a:gd name="connsiteX0" fmla="*/ 0 w 1444433"/>
              <a:gd name="connsiteY0" fmla="*/ 91715 h 454529"/>
              <a:gd name="connsiteX1" fmla="*/ 619299 w 1444433"/>
              <a:gd name="connsiteY1" fmla="*/ 382927 h 454529"/>
              <a:gd name="connsiteX2" fmla="*/ 1444433 w 1444433"/>
              <a:gd name="connsiteY2" fmla="*/ 292005 h 454529"/>
              <a:gd name="connsiteX3" fmla="*/ 0 w 1444433"/>
              <a:gd name="connsiteY3" fmla="*/ 91715 h 454529"/>
              <a:gd name="connsiteX0" fmla="*/ 0 w 1444433"/>
              <a:gd name="connsiteY0" fmla="*/ 59498 h 422312"/>
              <a:gd name="connsiteX1" fmla="*/ 619299 w 1444433"/>
              <a:gd name="connsiteY1" fmla="*/ 350710 h 422312"/>
              <a:gd name="connsiteX2" fmla="*/ 1444433 w 1444433"/>
              <a:gd name="connsiteY2" fmla="*/ 259788 h 422312"/>
              <a:gd name="connsiteX3" fmla="*/ 0 w 1444433"/>
              <a:gd name="connsiteY3" fmla="*/ 59498 h 422312"/>
              <a:gd name="connsiteX0" fmla="*/ 73577 w 1518010"/>
              <a:gd name="connsiteY0" fmla="*/ 59498 h 422312"/>
              <a:gd name="connsiteX1" fmla="*/ 261171 w 1518010"/>
              <a:gd name="connsiteY1" fmla="*/ 118113 h 422312"/>
              <a:gd name="connsiteX2" fmla="*/ 692876 w 1518010"/>
              <a:gd name="connsiteY2" fmla="*/ 350710 h 422312"/>
              <a:gd name="connsiteX3" fmla="*/ 1518010 w 1518010"/>
              <a:gd name="connsiteY3" fmla="*/ 259788 h 422312"/>
              <a:gd name="connsiteX4" fmla="*/ 73577 w 1518010"/>
              <a:gd name="connsiteY4" fmla="*/ 59498 h 422312"/>
              <a:gd name="connsiteX0" fmla="*/ 73577 w 1518010"/>
              <a:gd name="connsiteY0" fmla="*/ 59498 h 422312"/>
              <a:gd name="connsiteX1" fmla="*/ 261171 w 1518010"/>
              <a:gd name="connsiteY1" fmla="*/ 118113 h 422312"/>
              <a:gd name="connsiteX2" fmla="*/ 692876 w 1518010"/>
              <a:gd name="connsiteY2" fmla="*/ 350710 h 422312"/>
              <a:gd name="connsiteX3" fmla="*/ 1518010 w 1518010"/>
              <a:gd name="connsiteY3" fmla="*/ 259788 h 422312"/>
              <a:gd name="connsiteX4" fmla="*/ 73577 w 1518010"/>
              <a:gd name="connsiteY4" fmla="*/ 59498 h 422312"/>
              <a:gd name="connsiteX0" fmla="*/ 73577 w 1518010"/>
              <a:gd name="connsiteY0" fmla="*/ 59498 h 422312"/>
              <a:gd name="connsiteX1" fmla="*/ 261171 w 1518010"/>
              <a:gd name="connsiteY1" fmla="*/ 118113 h 422312"/>
              <a:gd name="connsiteX2" fmla="*/ 692876 w 1518010"/>
              <a:gd name="connsiteY2" fmla="*/ 350710 h 422312"/>
              <a:gd name="connsiteX3" fmla="*/ 1518010 w 1518010"/>
              <a:gd name="connsiteY3" fmla="*/ 259788 h 422312"/>
              <a:gd name="connsiteX4" fmla="*/ 73577 w 1518010"/>
              <a:gd name="connsiteY4" fmla="*/ 59498 h 422312"/>
              <a:gd name="connsiteX0" fmla="*/ 1021 w 1445454"/>
              <a:gd name="connsiteY0" fmla="*/ 59498 h 422312"/>
              <a:gd name="connsiteX1" fmla="*/ 188615 w 1445454"/>
              <a:gd name="connsiteY1" fmla="*/ 118113 h 422312"/>
              <a:gd name="connsiteX2" fmla="*/ 620320 w 1445454"/>
              <a:gd name="connsiteY2" fmla="*/ 350710 h 422312"/>
              <a:gd name="connsiteX3" fmla="*/ 1445454 w 1445454"/>
              <a:gd name="connsiteY3" fmla="*/ 259788 h 422312"/>
              <a:gd name="connsiteX4" fmla="*/ 1021 w 1445454"/>
              <a:gd name="connsiteY4" fmla="*/ 59498 h 422312"/>
              <a:gd name="connsiteX0" fmla="*/ 1738 w 1446171"/>
              <a:gd name="connsiteY0" fmla="*/ 59498 h 422312"/>
              <a:gd name="connsiteX1" fmla="*/ 143729 w 1446171"/>
              <a:gd name="connsiteY1" fmla="*/ 113824 h 422312"/>
              <a:gd name="connsiteX2" fmla="*/ 621037 w 1446171"/>
              <a:gd name="connsiteY2" fmla="*/ 350710 h 422312"/>
              <a:gd name="connsiteX3" fmla="*/ 1446171 w 1446171"/>
              <a:gd name="connsiteY3" fmla="*/ 259788 h 422312"/>
              <a:gd name="connsiteX4" fmla="*/ 1738 w 1446171"/>
              <a:gd name="connsiteY4" fmla="*/ 59498 h 422312"/>
              <a:gd name="connsiteX0" fmla="*/ 1738 w 1446171"/>
              <a:gd name="connsiteY0" fmla="*/ 59498 h 422312"/>
              <a:gd name="connsiteX1" fmla="*/ 143729 w 1446171"/>
              <a:gd name="connsiteY1" fmla="*/ 113824 h 422312"/>
              <a:gd name="connsiteX2" fmla="*/ 621037 w 1446171"/>
              <a:gd name="connsiteY2" fmla="*/ 350710 h 422312"/>
              <a:gd name="connsiteX3" fmla="*/ 1446171 w 1446171"/>
              <a:gd name="connsiteY3" fmla="*/ 259788 h 422312"/>
              <a:gd name="connsiteX4" fmla="*/ 1738 w 1446171"/>
              <a:gd name="connsiteY4" fmla="*/ 59498 h 422312"/>
              <a:gd name="connsiteX0" fmla="*/ 1738 w 1446171"/>
              <a:gd name="connsiteY0" fmla="*/ 59498 h 422312"/>
              <a:gd name="connsiteX1" fmla="*/ 143729 w 1446171"/>
              <a:gd name="connsiteY1" fmla="*/ 113824 h 422312"/>
              <a:gd name="connsiteX2" fmla="*/ 621037 w 1446171"/>
              <a:gd name="connsiteY2" fmla="*/ 350710 h 422312"/>
              <a:gd name="connsiteX3" fmla="*/ 1446171 w 1446171"/>
              <a:gd name="connsiteY3" fmla="*/ 259788 h 422312"/>
              <a:gd name="connsiteX4" fmla="*/ 1738 w 1446171"/>
              <a:gd name="connsiteY4" fmla="*/ 59498 h 422312"/>
              <a:gd name="connsiteX0" fmla="*/ 1738 w 1446171"/>
              <a:gd name="connsiteY0" fmla="*/ 59498 h 422312"/>
              <a:gd name="connsiteX1" fmla="*/ 143729 w 1446171"/>
              <a:gd name="connsiteY1" fmla="*/ 113824 h 422312"/>
              <a:gd name="connsiteX2" fmla="*/ 621037 w 1446171"/>
              <a:gd name="connsiteY2" fmla="*/ 350710 h 422312"/>
              <a:gd name="connsiteX3" fmla="*/ 1446171 w 1446171"/>
              <a:gd name="connsiteY3" fmla="*/ 259788 h 422312"/>
              <a:gd name="connsiteX4" fmla="*/ 1738 w 1446171"/>
              <a:gd name="connsiteY4" fmla="*/ 59498 h 422312"/>
              <a:gd name="connsiteX0" fmla="*/ 1880 w 1446313"/>
              <a:gd name="connsiteY0" fmla="*/ 59498 h 422312"/>
              <a:gd name="connsiteX1" fmla="*/ 138818 w 1446313"/>
              <a:gd name="connsiteY1" fmla="*/ 109371 h 422312"/>
              <a:gd name="connsiteX2" fmla="*/ 621179 w 1446313"/>
              <a:gd name="connsiteY2" fmla="*/ 350710 h 422312"/>
              <a:gd name="connsiteX3" fmla="*/ 1446313 w 1446313"/>
              <a:gd name="connsiteY3" fmla="*/ 259788 h 422312"/>
              <a:gd name="connsiteX4" fmla="*/ 1880 w 1446313"/>
              <a:gd name="connsiteY4" fmla="*/ 59498 h 422312"/>
              <a:gd name="connsiteX0" fmla="*/ 339764 w 1784197"/>
              <a:gd name="connsiteY0" fmla="*/ 59498 h 422312"/>
              <a:gd name="connsiteX1" fmla="*/ 16495 w 1784197"/>
              <a:gd name="connsiteY1" fmla="*/ 379309 h 422312"/>
              <a:gd name="connsiteX2" fmla="*/ 959063 w 1784197"/>
              <a:gd name="connsiteY2" fmla="*/ 350710 h 422312"/>
              <a:gd name="connsiteX3" fmla="*/ 1784197 w 1784197"/>
              <a:gd name="connsiteY3" fmla="*/ 259788 h 422312"/>
              <a:gd name="connsiteX4" fmla="*/ 339764 w 1784197"/>
              <a:gd name="connsiteY4" fmla="*/ 59498 h 422312"/>
              <a:gd name="connsiteX0" fmla="*/ 16699 w 1837861"/>
              <a:gd name="connsiteY0" fmla="*/ 185883 h 279239"/>
              <a:gd name="connsiteX1" fmla="*/ 70159 w 1837861"/>
              <a:gd name="connsiteY1" fmla="*/ 236236 h 279239"/>
              <a:gd name="connsiteX2" fmla="*/ 1012727 w 1837861"/>
              <a:gd name="connsiteY2" fmla="*/ 207637 h 279239"/>
              <a:gd name="connsiteX3" fmla="*/ 1837861 w 1837861"/>
              <a:gd name="connsiteY3" fmla="*/ 116715 h 279239"/>
              <a:gd name="connsiteX4" fmla="*/ 16699 w 1837861"/>
              <a:gd name="connsiteY4" fmla="*/ 185883 h 279239"/>
              <a:gd name="connsiteX0" fmla="*/ 27811 w 1848973"/>
              <a:gd name="connsiteY0" fmla="*/ 185883 h 279239"/>
              <a:gd name="connsiteX1" fmla="*/ 81271 w 1848973"/>
              <a:gd name="connsiteY1" fmla="*/ 236236 h 279239"/>
              <a:gd name="connsiteX2" fmla="*/ 1023839 w 1848973"/>
              <a:gd name="connsiteY2" fmla="*/ 207637 h 279239"/>
              <a:gd name="connsiteX3" fmla="*/ 1848973 w 1848973"/>
              <a:gd name="connsiteY3" fmla="*/ 116715 h 279239"/>
              <a:gd name="connsiteX4" fmla="*/ 27811 w 1848973"/>
              <a:gd name="connsiteY4" fmla="*/ 185883 h 279239"/>
              <a:gd name="connsiteX0" fmla="*/ 44656 w 1865818"/>
              <a:gd name="connsiteY0" fmla="*/ 185883 h 279239"/>
              <a:gd name="connsiteX1" fmla="*/ 98116 w 1865818"/>
              <a:gd name="connsiteY1" fmla="*/ 236236 h 279239"/>
              <a:gd name="connsiteX2" fmla="*/ 1040684 w 1865818"/>
              <a:gd name="connsiteY2" fmla="*/ 207637 h 279239"/>
              <a:gd name="connsiteX3" fmla="*/ 1865818 w 1865818"/>
              <a:gd name="connsiteY3" fmla="*/ 116715 h 279239"/>
              <a:gd name="connsiteX4" fmla="*/ 44656 w 1865818"/>
              <a:gd name="connsiteY4" fmla="*/ 185883 h 279239"/>
              <a:gd name="connsiteX0" fmla="*/ 19581 w 1840743"/>
              <a:gd name="connsiteY0" fmla="*/ 185883 h 279239"/>
              <a:gd name="connsiteX1" fmla="*/ 73041 w 1840743"/>
              <a:gd name="connsiteY1" fmla="*/ 236236 h 279239"/>
              <a:gd name="connsiteX2" fmla="*/ 1015609 w 1840743"/>
              <a:gd name="connsiteY2" fmla="*/ 207637 h 279239"/>
              <a:gd name="connsiteX3" fmla="*/ 1840743 w 1840743"/>
              <a:gd name="connsiteY3" fmla="*/ 116715 h 279239"/>
              <a:gd name="connsiteX4" fmla="*/ 19581 w 1840743"/>
              <a:gd name="connsiteY4" fmla="*/ 185883 h 279239"/>
              <a:gd name="connsiteX0" fmla="*/ 12040 w 1833202"/>
              <a:gd name="connsiteY0" fmla="*/ 185883 h 279239"/>
              <a:gd name="connsiteX1" fmla="*/ 65500 w 1833202"/>
              <a:gd name="connsiteY1" fmla="*/ 236236 h 279239"/>
              <a:gd name="connsiteX2" fmla="*/ 1008068 w 1833202"/>
              <a:gd name="connsiteY2" fmla="*/ 207637 h 279239"/>
              <a:gd name="connsiteX3" fmla="*/ 1833202 w 1833202"/>
              <a:gd name="connsiteY3" fmla="*/ 116715 h 279239"/>
              <a:gd name="connsiteX4" fmla="*/ 12040 w 1833202"/>
              <a:gd name="connsiteY4" fmla="*/ 185883 h 279239"/>
              <a:gd name="connsiteX0" fmla="*/ 12040 w 1833202"/>
              <a:gd name="connsiteY0" fmla="*/ 185883 h 279239"/>
              <a:gd name="connsiteX1" fmla="*/ 65500 w 1833202"/>
              <a:gd name="connsiteY1" fmla="*/ 236236 h 279239"/>
              <a:gd name="connsiteX2" fmla="*/ 1008068 w 1833202"/>
              <a:gd name="connsiteY2" fmla="*/ 207637 h 279239"/>
              <a:gd name="connsiteX3" fmla="*/ 1833202 w 1833202"/>
              <a:gd name="connsiteY3" fmla="*/ 116715 h 279239"/>
              <a:gd name="connsiteX4" fmla="*/ 12040 w 1833202"/>
              <a:gd name="connsiteY4" fmla="*/ 185883 h 279239"/>
              <a:gd name="connsiteX0" fmla="*/ 12040 w 1833202"/>
              <a:gd name="connsiteY0" fmla="*/ 362483 h 455839"/>
              <a:gd name="connsiteX1" fmla="*/ 65500 w 1833202"/>
              <a:gd name="connsiteY1" fmla="*/ 412836 h 455839"/>
              <a:gd name="connsiteX2" fmla="*/ 1008068 w 1833202"/>
              <a:gd name="connsiteY2" fmla="*/ 384237 h 455839"/>
              <a:gd name="connsiteX3" fmla="*/ 1833202 w 1833202"/>
              <a:gd name="connsiteY3" fmla="*/ 293315 h 455839"/>
              <a:gd name="connsiteX4" fmla="*/ 12040 w 1833202"/>
              <a:gd name="connsiteY4" fmla="*/ 362483 h 455839"/>
              <a:gd name="connsiteX0" fmla="*/ 12040 w 1833202"/>
              <a:gd name="connsiteY0" fmla="*/ 362483 h 455839"/>
              <a:gd name="connsiteX1" fmla="*/ 65500 w 1833202"/>
              <a:gd name="connsiteY1" fmla="*/ 412836 h 455839"/>
              <a:gd name="connsiteX2" fmla="*/ 1008068 w 1833202"/>
              <a:gd name="connsiteY2" fmla="*/ 384237 h 455839"/>
              <a:gd name="connsiteX3" fmla="*/ 1833202 w 1833202"/>
              <a:gd name="connsiteY3" fmla="*/ 293315 h 455839"/>
              <a:gd name="connsiteX4" fmla="*/ 12040 w 1833202"/>
              <a:gd name="connsiteY4" fmla="*/ 362483 h 455839"/>
              <a:gd name="connsiteX0" fmla="*/ 12040 w 1833202"/>
              <a:gd name="connsiteY0" fmla="*/ 362483 h 455839"/>
              <a:gd name="connsiteX1" fmla="*/ 65500 w 1833202"/>
              <a:gd name="connsiteY1" fmla="*/ 412836 h 455839"/>
              <a:gd name="connsiteX2" fmla="*/ 1008068 w 1833202"/>
              <a:gd name="connsiteY2" fmla="*/ 384237 h 455839"/>
              <a:gd name="connsiteX3" fmla="*/ 1833202 w 1833202"/>
              <a:gd name="connsiteY3" fmla="*/ 293315 h 455839"/>
              <a:gd name="connsiteX4" fmla="*/ 12040 w 1833202"/>
              <a:gd name="connsiteY4" fmla="*/ 362483 h 455839"/>
              <a:gd name="connsiteX0" fmla="*/ 12040 w 1833202"/>
              <a:gd name="connsiteY0" fmla="*/ 362483 h 457892"/>
              <a:gd name="connsiteX1" fmla="*/ 65500 w 1833202"/>
              <a:gd name="connsiteY1" fmla="*/ 412836 h 457892"/>
              <a:gd name="connsiteX2" fmla="*/ 1003604 w 1833202"/>
              <a:gd name="connsiteY2" fmla="*/ 386831 h 457892"/>
              <a:gd name="connsiteX3" fmla="*/ 1833202 w 1833202"/>
              <a:gd name="connsiteY3" fmla="*/ 293315 h 457892"/>
              <a:gd name="connsiteX4" fmla="*/ 12040 w 1833202"/>
              <a:gd name="connsiteY4" fmla="*/ 362483 h 457892"/>
              <a:gd name="connsiteX0" fmla="*/ 12040 w 1833202"/>
              <a:gd name="connsiteY0" fmla="*/ 362483 h 446766"/>
              <a:gd name="connsiteX1" fmla="*/ 65500 w 1833202"/>
              <a:gd name="connsiteY1" fmla="*/ 412836 h 446766"/>
              <a:gd name="connsiteX2" fmla="*/ 1003604 w 1833202"/>
              <a:gd name="connsiteY2" fmla="*/ 386831 h 446766"/>
              <a:gd name="connsiteX3" fmla="*/ 1833202 w 1833202"/>
              <a:gd name="connsiteY3" fmla="*/ 293315 h 446766"/>
              <a:gd name="connsiteX4" fmla="*/ 12040 w 1833202"/>
              <a:gd name="connsiteY4" fmla="*/ 362483 h 446766"/>
              <a:gd name="connsiteX0" fmla="*/ 12040 w 1833202"/>
              <a:gd name="connsiteY0" fmla="*/ 362483 h 446766"/>
              <a:gd name="connsiteX1" fmla="*/ 65500 w 1833202"/>
              <a:gd name="connsiteY1" fmla="*/ 412836 h 446766"/>
              <a:gd name="connsiteX2" fmla="*/ 1003604 w 1833202"/>
              <a:gd name="connsiteY2" fmla="*/ 386831 h 446766"/>
              <a:gd name="connsiteX3" fmla="*/ 1833202 w 1833202"/>
              <a:gd name="connsiteY3" fmla="*/ 293315 h 446766"/>
              <a:gd name="connsiteX4" fmla="*/ 12040 w 1833202"/>
              <a:gd name="connsiteY4" fmla="*/ 362483 h 446766"/>
              <a:gd name="connsiteX0" fmla="*/ 12040 w 1833202"/>
              <a:gd name="connsiteY0" fmla="*/ 362483 h 456060"/>
              <a:gd name="connsiteX1" fmla="*/ 65500 w 1833202"/>
              <a:gd name="connsiteY1" fmla="*/ 412836 h 456060"/>
              <a:gd name="connsiteX2" fmla="*/ 1004329 w 1833202"/>
              <a:gd name="connsiteY2" fmla="*/ 398353 h 456060"/>
              <a:gd name="connsiteX3" fmla="*/ 1833202 w 1833202"/>
              <a:gd name="connsiteY3" fmla="*/ 293315 h 456060"/>
              <a:gd name="connsiteX4" fmla="*/ 12040 w 1833202"/>
              <a:gd name="connsiteY4" fmla="*/ 362483 h 456060"/>
              <a:gd name="connsiteX0" fmla="*/ 12040 w 1833202"/>
              <a:gd name="connsiteY0" fmla="*/ 362483 h 439031"/>
              <a:gd name="connsiteX1" fmla="*/ 65500 w 1833202"/>
              <a:gd name="connsiteY1" fmla="*/ 412836 h 439031"/>
              <a:gd name="connsiteX2" fmla="*/ 1004329 w 1833202"/>
              <a:gd name="connsiteY2" fmla="*/ 398353 h 439031"/>
              <a:gd name="connsiteX3" fmla="*/ 1833202 w 1833202"/>
              <a:gd name="connsiteY3" fmla="*/ 293315 h 439031"/>
              <a:gd name="connsiteX4" fmla="*/ 12040 w 1833202"/>
              <a:gd name="connsiteY4" fmla="*/ 362483 h 439031"/>
              <a:gd name="connsiteX0" fmla="*/ 12040 w 1833202"/>
              <a:gd name="connsiteY0" fmla="*/ 362483 h 430513"/>
              <a:gd name="connsiteX1" fmla="*/ 65500 w 1833202"/>
              <a:gd name="connsiteY1" fmla="*/ 412836 h 430513"/>
              <a:gd name="connsiteX2" fmla="*/ 1004329 w 1833202"/>
              <a:gd name="connsiteY2" fmla="*/ 398353 h 430513"/>
              <a:gd name="connsiteX3" fmla="*/ 1833202 w 1833202"/>
              <a:gd name="connsiteY3" fmla="*/ 293315 h 430513"/>
              <a:gd name="connsiteX4" fmla="*/ 12040 w 1833202"/>
              <a:gd name="connsiteY4" fmla="*/ 362483 h 430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3202" h="430513">
                <a:moveTo>
                  <a:pt x="12040" y="362483"/>
                </a:moveTo>
                <a:cubicBezTo>
                  <a:pt x="-7128" y="405634"/>
                  <a:pt x="-12289" y="427121"/>
                  <a:pt x="65500" y="412836"/>
                </a:cubicBezTo>
                <a:cubicBezTo>
                  <a:pt x="501935" y="8544"/>
                  <a:pt x="857784" y="359068"/>
                  <a:pt x="1004329" y="398353"/>
                </a:cubicBezTo>
                <a:cubicBezTo>
                  <a:pt x="1150823" y="489521"/>
                  <a:pt x="1752579" y="365215"/>
                  <a:pt x="1833202" y="293315"/>
                </a:cubicBezTo>
                <a:cubicBezTo>
                  <a:pt x="1524008" y="57442"/>
                  <a:pt x="550416" y="-259106"/>
                  <a:pt x="12040" y="36248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cxnSp>
        <p:nvCxnSpPr>
          <p:cNvPr id="102" name="Straight Connector 101">
            <a:extLst>
              <a:ext uri="{FF2B5EF4-FFF2-40B4-BE49-F238E27FC236}">
                <a16:creationId xmlns:a16="http://schemas.microsoft.com/office/drawing/2014/main" id="{27259A22-3A3B-4D09-AD48-9BA1FC8541D5}"/>
              </a:ext>
            </a:extLst>
          </p:cNvPr>
          <p:cNvCxnSpPr>
            <a:cxnSpLocks/>
          </p:cNvCxnSpPr>
          <p:nvPr/>
        </p:nvCxnSpPr>
        <p:spPr>
          <a:xfrm flipH="1">
            <a:off x="4248647" y="3577561"/>
            <a:ext cx="1906" cy="2074017"/>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0F006A65-8589-41B0-B6E5-583C6FCB247F}"/>
              </a:ext>
            </a:extLst>
          </p:cNvPr>
          <p:cNvCxnSpPr>
            <a:cxnSpLocks/>
          </p:cNvCxnSpPr>
          <p:nvPr/>
        </p:nvCxnSpPr>
        <p:spPr>
          <a:xfrm>
            <a:off x="2508931" y="4137218"/>
            <a:ext cx="0" cy="1671940"/>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2EC0862-007D-44C1-945D-A117ED61CDDB}"/>
              </a:ext>
            </a:extLst>
          </p:cNvPr>
          <p:cNvCxnSpPr>
            <a:cxnSpLocks/>
          </p:cNvCxnSpPr>
          <p:nvPr/>
        </p:nvCxnSpPr>
        <p:spPr>
          <a:xfrm flipH="1">
            <a:off x="6152563" y="3359388"/>
            <a:ext cx="3616" cy="1707912"/>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CCFFEE2-CEAB-4B20-AA97-AB58854F95D5}"/>
              </a:ext>
            </a:extLst>
          </p:cNvPr>
          <p:cNvCxnSpPr>
            <a:cxnSpLocks/>
          </p:cNvCxnSpPr>
          <p:nvPr/>
        </p:nvCxnSpPr>
        <p:spPr>
          <a:xfrm>
            <a:off x="7868421" y="2696538"/>
            <a:ext cx="19315" cy="1803723"/>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98B1591A-11B6-4BD6-A98A-52BAB11A0131}"/>
              </a:ext>
            </a:extLst>
          </p:cNvPr>
          <p:cNvGrpSpPr/>
          <p:nvPr/>
        </p:nvGrpSpPr>
        <p:grpSpPr>
          <a:xfrm>
            <a:off x="7673340" y="2316988"/>
            <a:ext cx="386329" cy="386329"/>
            <a:chOff x="9329415" y="1064963"/>
            <a:chExt cx="260002" cy="260001"/>
          </a:xfrm>
          <a:effectLst/>
        </p:grpSpPr>
        <p:sp>
          <p:nvSpPr>
            <p:cNvPr id="120" name="Oval 119">
              <a:extLst>
                <a:ext uri="{FF2B5EF4-FFF2-40B4-BE49-F238E27FC236}">
                  <a16:creationId xmlns:a16="http://schemas.microsoft.com/office/drawing/2014/main" id="{8583A2D3-ECFF-47E4-BBC7-6CEFE96317E1}"/>
                </a:ext>
              </a:extLst>
            </p:cNvPr>
            <p:cNvSpPr/>
            <p:nvPr/>
          </p:nvSpPr>
          <p:spPr>
            <a:xfrm rot="3279983">
              <a:off x="9329415" y="1064963"/>
              <a:ext cx="260001" cy="26000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Ubuntu"/>
                <a:ea typeface="+mn-ea"/>
                <a:cs typeface="+mn-cs"/>
              </a:endParaRPr>
            </a:p>
          </p:txBody>
        </p:sp>
        <p:sp>
          <p:nvSpPr>
            <p:cNvPr id="121" name="Oval 120">
              <a:extLst>
                <a:ext uri="{FF2B5EF4-FFF2-40B4-BE49-F238E27FC236}">
                  <a16:creationId xmlns:a16="http://schemas.microsoft.com/office/drawing/2014/main" id="{E650F6E5-3102-49A5-86E0-47CCA4756FC9}"/>
                </a:ext>
              </a:extLst>
            </p:cNvPr>
            <p:cNvSpPr/>
            <p:nvPr/>
          </p:nvSpPr>
          <p:spPr>
            <a:xfrm rot="3279983">
              <a:off x="9374677" y="1111139"/>
              <a:ext cx="173954" cy="17395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Ubuntu"/>
                <a:ea typeface="+mn-ea"/>
                <a:cs typeface="+mn-cs"/>
              </a:endParaRPr>
            </a:p>
          </p:txBody>
        </p:sp>
      </p:grpSp>
      <p:grpSp>
        <p:nvGrpSpPr>
          <p:cNvPr id="111" name="Group 110">
            <a:extLst>
              <a:ext uri="{FF2B5EF4-FFF2-40B4-BE49-F238E27FC236}">
                <a16:creationId xmlns:a16="http://schemas.microsoft.com/office/drawing/2014/main" id="{BA3D4460-960B-4DD1-992D-093406319D3C}"/>
              </a:ext>
            </a:extLst>
          </p:cNvPr>
          <p:cNvGrpSpPr/>
          <p:nvPr/>
        </p:nvGrpSpPr>
        <p:grpSpPr>
          <a:xfrm>
            <a:off x="5961121" y="2979837"/>
            <a:ext cx="386329" cy="386329"/>
            <a:chOff x="9329424" y="1064966"/>
            <a:chExt cx="260002" cy="260002"/>
          </a:xfrm>
          <a:effectLst/>
        </p:grpSpPr>
        <p:sp>
          <p:nvSpPr>
            <p:cNvPr id="118" name="Oval 117">
              <a:extLst>
                <a:ext uri="{FF2B5EF4-FFF2-40B4-BE49-F238E27FC236}">
                  <a16:creationId xmlns:a16="http://schemas.microsoft.com/office/drawing/2014/main" id="{F9F80673-1986-496E-828C-ECB7FDD8CE15}"/>
                </a:ext>
              </a:extLst>
            </p:cNvPr>
            <p:cNvSpPr/>
            <p:nvPr/>
          </p:nvSpPr>
          <p:spPr>
            <a:xfrm rot="3279983">
              <a:off x="9329424" y="1064966"/>
              <a:ext cx="260002" cy="26000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Ubuntu"/>
                <a:ea typeface="+mn-ea"/>
                <a:cs typeface="+mn-cs"/>
              </a:endParaRPr>
            </a:p>
          </p:txBody>
        </p:sp>
        <p:sp>
          <p:nvSpPr>
            <p:cNvPr id="119" name="Oval 118">
              <a:extLst>
                <a:ext uri="{FF2B5EF4-FFF2-40B4-BE49-F238E27FC236}">
                  <a16:creationId xmlns:a16="http://schemas.microsoft.com/office/drawing/2014/main" id="{5F04B247-F8A1-4B69-B11C-F4103A2D54BC}"/>
                </a:ext>
              </a:extLst>
            </p:cNvPr>
            <p:cNvSpPr/>
            <p:nvPr/>
          </p:nvSpPr>
          <p:spPr>
            <a:xfrm rot="3279983">
              <a:off x="9374670" y="1111140"/>
              <a:ext cx="173955" cy="17395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Ubuntu"/>
                <a:ea typeface="+mn-ea"/>
                <a:cs typeface="+mn-cs"/>
              </a:endParaRPr>
            </a:p>
          </p:txBody>
        </p:sp>
      </p:grpSp>
      <p:grpSp>
        <p:nvGrpSpPr>
          <p:cNvPr id="112" name="Group 111">
            <a:extLst>
              <a:ext uri="{FF2B5EF4-FFF2-40B4-BE49-F238E27FC236}">
                <a16:creationId xmlns:a16="http://schemas.microsoft.com/office/drawing/2014/main" id="{B0A9601A-7F45-4ADB-A4AA-D14369807EEC}"/>
              </a:ext>
            </a:extLst>
          </p:cNvPr>
          <p:cNvGrpSpPr/>
          <p:nvPr/>
        </p:nvGrpSpPr>
        <p:grpSpPr>
          <a:xfrm>
            <a:off x="4055483" y="3198012"/>
            <a:ext cx="386329" cy="386329"/>
            <a:chOff x="9329415" y="1064967"/>
            <a:chExt cx="260002" cy="260002"/>
          </a:xfrm>
          <a:effectLst/>
        </p:grpSpPr>
        <p:sp>
          <p:nvSpPr>
            <p:cNvPr id="116" name="Oval 115">
              <a:extLst>
                <a:ext uri="{FF2B5EF4-FFF2-40B4-BE49-F238E27FC236}">
                  <a16:creationId xmlns:a16="http://schemas.microsoft.com/office/drawing/2014/main" id="{073E231C-D746-44B7-9152-BF8644716F53}"/>
                </a:ext>
              </a:extLst>
            </p:cNvPr>
            <p:cNvSpPr/>
            <p:nvPr/>
          </p:nvSpPr>
          <p:spPr>
            <a:xfrm rot="3279983">
              <a:off x="9329415" y="1064967"/>
              <a:ext cx="260002" cy="26000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Ubuntu"/>
                <a:ea typeface="+mn-ea"/>
                <a:cs typeface="+mn-cs"/>
              </a:endParaRPr>
            </a:p>
          </p:txBody>
        </p:sp>
        <p:sp>
          <p:nvSpPr>
            <p:cNvPr id="117" name="Oval 116">
              <a:extLst>
                <a:ext uri="{FF2B5EF4-FFF2-40B4-BE49-F238E27FC236}">
                  <a16:creationId xmlns:a16="http://schemas.microsoft.com/office/drawing/2014/main" id="{EE50497C-4F32-447E-8D45-6918ED162F0E}"/>
                </a:ext>
              </a:extLst>
            </p:cNvPr>
            <p:cNvSpPr/>
            <p:nvPr/>
          </p:nvSpPr>
          <p:spPr>
            <a:xfrm rot="3279983">
              <a:off x="9374670" y="1111140"/>
              <a:ext cx="173955" cy="17395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Ubuntu"/>
                <a:ea typeface="+mn-ea"/>
                <a:cs typeface="+mn-cs"/>
              </a:endParaRPr>
            </a:p>
          </p:txBody>
        </p:sp>
      </p:grpSp>
      <p:sp>
        <p:nvSpPr>
          <p:cNvPr id="114" name="Oval 113">
            <a:extLst>
              <a:ext uri="{FF2B5EF4-FFF2-40B4-BE49-F238E27FC236}">
                <a16:creationId xmlns:a16="http://schemas.microsoft.com/office/drawing/2014/main" id="{56B13E5B-8FDA-42B8-A601-3F6C661786E0}"/>
              </a:ext>
            </a:extLst>
          </p:cNvPr>
          <p:cNvSpPr/>
          <p:nvPr/>
        </p:nvSpPr>
        <p:spPr>
          <a:xfrm rot="3279983">
            <a:off x="2313861" y="3757669"/>
            <a:ext cx="386329" cy="3863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Ubuntu"/>
              <a:ea typeface="+mn-ea"/>
              <a:cs typeface="+mn-cs"/>
            </a:endParaRPr>
          </a:p>
        </p:txBody>
      </p:sp>
      <p:sp>
        <p:nvSpPr>
          <p:cNvPr id="115" name="Oval 114">
            <a:extLst>
              <a:ext uri="{FF2B5EF4-FFF2-40B4-BE49-F238E27FC236}">
                <a16:creationId xmlns:a16="http://schemas.microsoft.com/office/drawing/2014/main" id="{EF8D43EA-C6B2-4125-B4D4-689C7897C513}"/>
              </a:ext>
            </a:extLst>
          </p:cNvPr>
          <p:cNvSpPr/>
          <p:nvPr/>
        </p:nvSpPr>
        <p:spPr>
          <a:xfrm rot="3279983">
            <a:off x="2381104" y="3826275"/>
            <a:ext cx="258474" cy="258474"/>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Ubuntu"/>
              <a:ea typeface="+mn-ea"/>
              <a:cs typeface="+mn-cs"/>
            </a:endParaRPr>
          </a:p>
        </p:txBody>
      </p:sp>
      <p:sp>
        <p:nvSpPr>
          <p:cNvPr id="122" name="Text Placeholder 7">
            <a:extLst>
              <a:ext uri="{FF2B5EF4-FFF2-40B4-BE49-F238E27FC236}">
                <a16:creationId xmlns:a16="http://schemas.microsoft.com/office/drawing/2014/main" id="{CB00246B-74F6-43FB-A3A0-3C4D1DE97117}"/>
              </a:ext>
            </a:extLst>
          </p:cNvPr>
          <p:cNvSpPr txBox="1">
            <a:spLocks/>
          </p:cNvSpPr>
          <p:nvPr/>
        </p:nvSpPr>
        <p:spPr>
          <a:xfrm>
            <a:off x="2485793" y="4537337"/>
            <a:ext cx="1271691" cy="1271821"/>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400" b="1" i="0" strike="noStrike" kern="1200" cap="none" spc="0" normalizeH="0" baseline="0" noProof="0" dirty="0">
                <a:ln>
                  <a:noFill/>
                </a:ln>
                <a:solidFill>
                  <a:srgbClr val="FFFFFF"/>
                </a:solidFill>
                <a:effectLst/>
                <a:uLnTx/>
                <a:uFillTx/>
                <a:latin typeface="Ubuntu"/>
                <a:ea typeface="+mn-ea"/>
                <a:cs typeface="+mn-cs"/>
              </a:rPr>
              <a:t>Phase I</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FFFFFF"/>
                </a:solidFill>
                <a:effectLst/>
                <a:uLnTx/>
                <a:uFillTx/>
                <a:latin typeface="Ubuntu"/>
                <a:ea typeface="+mn-ea"/>
                <a:cs typeface="+mn-cs"/>
              </a:rPr>
              <a:t>Team Formation &amp; Abstract Submission</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lang="en-US" sz="1100" dirty="0">
                <a:solidFill>
                  <a:srgbClr val="FFFFFF"/>
                </a:solidFill>
                <a:latin typeface="Ubuntu"/>
              </a:rPr>
              <a:t>2 Weeks</a:t>
            </a:r>
            <a:endParaRPr kumimoji="0" lang="en-US" sz="1100" b="0" i="0" u="none" strike="noStrike" kern="1200" cap="none" spc="0" normalizeH="0" baseline="0" noProof="0" dirty="0">
              <a:ln>
                <a:noFill/>
              </a:ln>
              <a:solidFill>
                <a:srgbClr val="FFFFFF"/>
              </a:solidFill>
              <a:effectLst/>
              <a:uLnTx/>
              <a:uFillTx/>
              <a:latin typeface="Ubuntu"/>
              <a:ea typeface="+mn-ea"/>
              <a:cs typeface="+mn-cs"/>
            </a:endParaRPr>
          </a:p>
        </p:txBody>
      </p:sp>
      <p:sp>
        <p:nvSpPr>
          <p:cNvPr id="123" name="Text Placeholder 7">
            <a:extLst>
              <a:ext uri="{FF2B5EF4-FFF2-40B4-BE49-F238E27FC236}">
                <a16:creationId xmlns:a16="http://schemas.microsoft.com/office/drawing/2014/main" id="{8C6F5E90-8551-433D-B32A-E25E0D81EBD3}"/>
              </a:ext>
            </a:extLst>
          </p:cNvPr>
          <p:cNvSpPr txBox="1">
            <a:spLocks/>
          </p:cNvSpPr>
          <p:nvPr/>
        </p:nvSpPr>
        <p:spPr>
          <a:xfrm>
            <a:off x="4221173" y="4337277"/>
            <a:ext cx="1526409" cy="1314301"/>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400" b="1" i="0" strike="noStrike" kern="1200" cap="none" spc="0" normalizeH="0" baseline="0" noProof="0" dirty="0">
                <a:ln>
                  <a:noFill/>
                </a:ln>
                <a:solidFill>
                  <a:srgbClr val="FFFFFF"/>
                </a:solidFill>
                <a:effectLst/>
                <a:uLnTx/>
                <a:uFillTx/>
                <a:latin typeface="Ubuntu"/>
                <a:ea typeface="+mn-ea"/>
                <a:cs typeface="+mn-cs"/>
              </a:rPr>
              <a:t>Phase II</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FFFFFF"/>
                </a:solidFill>
                <a:effectLst/>
                <a:uLnTx/>
                <a:uFillTx/>
                <a:latin typeface="Ubuntu"/>
                <a:ea typeface="+mn-ea"/>
                <a:cs typeface="+mn-cs"/>
              </a:rPr>
              <a:t>Solution Development &amp;</a:t>
            </a:r>
            <a:r>
              <a:rPr lang="en-US" sz="1100" dirty="0">
                <a:solidFill>
                  <a:srgbClr val="FFFFFF"/>
                </a:solidFill>
                <a:latin typeface="Ubuntu"/>
              </a:rPr>
              <a:t> </a:t>
            </a:r>
            <a:r>
              <a:rPr kumimoji="0" lang="en-US" sz="1100" b="0" i="0" u="none" strike="noStrike" kern="1200" cap="none" spc="0" normalizeH="0" baseline="0" noProof="0" dirty="0">
                <a:ln>
                  <a:noFill/>
                </a:ln>
                <a:solidFill>
                  <a:srgbClr val="FFFFFF"/>
                </a:solidFill>
                <a:effectLst/>
                <a:uLnTx/>
                <a:uFillTx/>
                <a:latin typeface="Ubuntu"/>
                <a:ea typeface="+mn-ea"/>
                <a:cs typeface="+mn-cs"/>
              </a:rPr>
              <a:t>Collateral Submission</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lang="en-US" sz="1100" dirty="0">
                <a:solidFill>
                  <a:srgbClr val="FFFFFF"/>
                </a:solidFill>
                <a:latin typeface="Ubuntu"/>
              </a:rPr>
              <a:t>6 Weeks</a:t>
            </a:r>
            <a:endParaRPr kumimoji="0" lang="en-US" sz="1100" b="0" i="0" u="none" strike="noStrike" kern="1200" cap="none" spc="0" normalizeH="0" baseline="0" noProof="0" dirty="0">
              <a:ln>
                <a:noFill/>
              </a:ln>
              <a:solidFill>
                <a:srgbClr val="FFFFFF"/>
              </a:solidFill>
              <a:effectLst/>
              <a:uLnTx/>
              <a:uFillTx/>
              <a:latin typeface="Ubuntu"/>
              <a:ea typeface="+mn-ea"/>
              <a:cs typeface="+mn-cs"/>
            </a:endParaRPr>
          </a:p>
        </p:txBody>
      </p:sp>
      <p:sp>
        <p:nvSpPr>
          <p:cNvPr id="124" name="Text Placeholder 7">
            <a:extLst>
              <a:ext uri="{FF2B5EF4-FFF2-40B4-BE49-F238E27FC236}">
                <a16:creationId xmlns:a16="http://schemas.microsoft.com/office/drawing/2014/main" id="{0522D64D-B59D-4FB8-A9C8-B975809EB346}"/>
              </a:ext>
            </a:extLst>
          </p:cNvPr>
          <p:cNvSpPr txBox="1">
            <a:spLocks/>
          </p:cNvSpPr>
          <p:nvPr/>
        </p:nvSpPr>
        <p:spPr>
          <a:xfrm>
            <a:off x="6152733" y="3958977"/>
            <a:ext cx="1536923" cy="1108323"/>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400" b="1" i="0" strike="noStrike" kern="1200" cap="none" spc="0" normalizeH="0" baseline="0" noProof="0" dirty="0">
                <a:ln>
                  <a:noFill/>
                </a:ln>
                <a:solidFill>
                  <a:srgbClr val="FFFFFF"/>
                </a:solidFill>
                <a:effectLst/>
                <a:uLnTx/>
                <a:uFillTx/>
                <a:latin typeface="Ubuntu"/>
                <a:ea typeface="+mn-ea"/>
                <a:cs typeface="+mn-cs"/>
              </a:rPr>
              <a:t>FINALS</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FFFFFF"/>
                </a:solidFill>
                <a:effectLst/>
                <a:uLnTx/>
                <a:uFillTx/>
                <a:latin typeface="Ubuntu"/>
                <a:ea typeface="+mn-ea"/>
                <a:cs typeface="+mn-cs"/>
              </a:rPr>
              <a:t>Executive Presentations &amp; Demo</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FFFFFF"/>
                </a:solidFill>
                <a:effectLst/>
                <a:uLnTx/>
                <a:uFillTx/>
                <a:latin typeface="Ubuntu"/>
                <a:ea typeface="+mn-ea"/>
                <a:cs typeface="+mn-cs"/>
              </a:rPr>
              <a:t>1 Week</a:t>
            </a:r>
          </a:p>
        </p:txBody>
      </p:sp>
      <p:sp>
        <p:nvSpPr>
          <p:cNvPr id="125" name="Text Placeholder 7">
            <a:extLst>
              <a:ext uri="{FF2B5EF4-FFF2-40B4-BE49-F238E27FC236}">
                <a16:creationId xmlns:a16="http://schemas.microsoft.com/office/drawing/2014/main" id="{A5286A2D-F006-4D73-96B8-78BFEE5FCE03}"/>
              </a:ext>
            </a:extLst>
          </p:cNvPr>
          <p:cNvSpPr txBox="1">
            <a:spLocks/>
          </p:cNvSpPr>
          <p:nvPr/>
        </p:nvSpPr>
        <p:spPr>
          <a:xfrm>
            <a:off x="7891559" y="3634394"/>
            <a:ext cx="3005330" cy="829938"/>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lang="en-US" b="1" dirty="0">
                <a:solidFill>
                  <a:srgbClr val="FFFFFF"/>
                </a:solidFill>
                <a:latin typeface="Ubuntu"/>
              </a:rPr>
              <a:t>RESULTS</a:t>
            </a:r>
            <a:endParaRPr kumimoji="0" lang="en-US" sz="1400" b="1" i="0" strike="noStrike" kern="1200" cap="none" spc="0" normalizeH="0" baseline="0" noProof="0" dirty="0">
              <a:ln>
                <a:noFill/>
              </a:ln>
              <a:solidFill>
                <a:srgbClr val="FFFFFF"/>
              </a:solidFill>
              <a:effectLst/>
              <a:uLnTx/>
              <a:uFillTx/>
              <a:latin typeface="Ubuntu"/>
              <a:ea typeface="+mn-ea"/>
              <a:cs typeface="+mn-cs"/>
            </a:endParaRP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100" b="0" i="0" u="none" strike="noStrike" kern="1200" cap="none" spc="0" normalizeH="0" baseline="0" noProof="0" dirty="0">
                <a:ln>
                  <a:noFill/>
                </a:ln>
                <a:solidFill>
                  <a:srgbClr val="FFFFFF"/>
                </a:solidFill>
                <a:effectLst/>
                <a:uLnTx/>
                <a:uFillTx/>
                <a:latin typeface="Ubuntu"/>
                <a:ea typeface="+mn-ea"/>
                <a:cs typeface="+mn-cs"/>
              </a:rPr>
              <a:t>Winners Announcemen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100" i="0" u="none" strike="noStrike" kern="1200" cap="none" spc="0" normalizeH="0" baseline="0" noProof="0" dirty="0">
                <a:ln>
                  <a:noFill/>
                </a:ln>
                <a:solidFill>
                  <a:srgbClr val="FFFFFF"/>
                </a:solidFill>
                <a:effectLst/>
                <a:uLnTx/>
                <a:uFillTx/>
                <a:latin typeface="Ubuntu"/>
                <a:ea typeface="+mn-ea"/>
                <a:cs typeface="+mn-cs"/>
              </a:rPr>
              <a:t>Disbursement of </a:t>
            </a:r>
            <a:r>
              <a:rPr kumimoji="0" lang="en-US" sz="1100" b="0" i="0" u="none" strike="noStrike" kern="1200" cap="none" spc="0" normalizeH="0" baseline="0" noProof="0" dirty="0">
                <a:ln>
                  <a:noFill/>
                </a:ln>
                <a:solidFill>
                  <a:srgbClr val="FFFFFF"/>
                </a:solidFill>
                <a:effectLst/>
                <a:uLnTx/>
                <a:uFillTx/>
                <a:latin typeface="Ubuntu"/>
                <a:ea typeface="+mn-ea"/>
                <a:cs typeface="+mn-cs"/>
              </a:rPr>
              <a:t>Cash Prize</a:t>
            </a:r>
          </a:p>
        </p:txBody>
      </p:sp>
      <p:sp>
        <p:nvSpPr>
          <p:cNvPr id="7" name="TextBox 6">
            <a:extLst>
              <a:ext uri="{FF2B5EF4-FFF2-40B4-BE49-F238E27FC236}">
                <a16:creationId xmlns:a16="http://schemas.microsoft.com/office/drawing/2014/main" id="{6E661329-7AB9-4FDC-A60D-F2EC4B61D42D}"/>
              </a:ext>
            </a:extLst>
          </p:cNvPr>
          <p:cNvSpPr txBox="1"/>
          <p:nvPr/>
        </p:nvSpPr>
        <p:spPr>
          <a:xfrm>
            <a:off x="1186245" y="3451406"/>
            <a:ext cx="1770390" cy="215444"/>
          </a:xfrm>
          <a:prstGeom prst="rect">
            <a:avLst/>
          </a:prstGeom>
        </p:spPr>
        <p:txBody>
          <a:bodyPr vert="horz" wrap="square" lIns="0" tIns="0" rIns="0" bIns="0" rtlCol="0" anchor="t" anchorCtr="0">
            <a:spAutoFit/>
          </a:bodyPr>
          <a:lstStyle/>
          <a:p>
            <a:pPr algn="l"/>
            <a:r>
              <a:rPr lang="en-IN" sz="1400" b="1" dirty="0">
                <a:solidFill>
                  <a:schemeClr val="bg1"/>
                </a:solidFill>
              </a:rPr>
              <a:t>20</a:t>
            </a:r>
            <a:r>
              <a:rPr lang="en-IN" sz="1400" b="1" baseline="30000" dirty="0">
                <a:solidFill>
                  <a:schemeClr val="bg1"/>
                </a:solidFill>
              </a:rPr>
              <a:t>th</a:t>
            </a:r>
            <a:r>
              <a:rPr lang="en-IN" sz="1400" b="1" dirty="0">
                <a:solidFill>
                  <a:schemeClr val="bg1"/>
                </a:solidFill>
              </a:rPr>
              <a:t> Jul – 2</a:t>
            </a:r>
            <a:r>
              <a:rPr lang="en-IN" sz="1400" b="1" baseline="30000" dirty="0">
                <a:solidFill>
                  <a:schemeClr val="bg1"/>
                </a:solidFill>
              </a:rPr>
              <a:t>nd</a:t>
            </a:r>
            <a:r>
              <a:rPr lang="en-IN" sz="1400" b="1" dirty="0">
                <a:solidFill>
                  <a:schemeClr val="bg1"/>
                </a:solidFill>
              </a:rPr>
              <a:t>Aug</a:t>
            </a:r>
          </a:p>
        </p:txBody>
      </p:sp>
      <p:sp>
        <p:nvSpPr>
          <p:cNvPr id="49" name="TextBox 48">
            <a:extLst>
              <a:ext uri="{FF2B5EF4-FFF2-40B4-BE49-F238E27FC236}">
                <a16:creationId xmlns:a16="http://schemas.microsoft.com/office/drawing/2014/main" id="{6E1DAB8B-3EB1-44B8-BEC1-253C1A7559BD}"/>
              </a:ext>
            </a:extLst>
          </p:cNvPr>
          <p:cNvSpPr txBox="1"/>
          <p:nvPr/>
        </p:nvSpPr>
        <p:spPr>
          <a:xfrm>
            <a:off x="2770252" y="2882165"/>
            <a:ext cx="1974463" cy="215444"/>
          </a:xfrm>
          <a:prstGeom prst="rect">
            <a:avLst/>
          </a:prstGeom>
        </p:spPr>
        <p:txBody>
          <a:bodyPr vert="horz" wrap="square" lIns="0" tIns="0" rIns="0" bIns="0" rtlCol="0" anchor="t" anchorCtr="0">
            <a:spAutoFit/>
          </a:bodyPr>
          <a:lstStyle/>
          <a:p>
            <a:pPr algn="l"/>
            <a:r>
              <a:rPr lang="en-IN" sz="1400" b="1" dirty="0">
                <a:solidFill>
                  <a:schemeClr val="bg1"/>
                </a:solidFill>
              </a:rPr>
              <a:t>10</a:t>
            </a:r>
            <a:r>
              <a:rPr lang="en-IN" sz="1400" b="1" baseline="30000" dirty="0">
                <a:solidFill>
                  <a:schemeClr val="bg1"/>
                </a:solidFill>
              </a:rPr>
              <a:t>th</a:t>
            </a:r>
            <a:r>
              <a:rPr lang="en-IN" sz="1400" b="1" dirty="0">
                <a:solidFill>
                  <a:schemeClr val="bg1"/>
                </a:solidFill>
              </a:rPr>
              <a:t> Aug – 21</a:t>
            </a:r>
            <a:r>
              <a:rPr lang="en-IN" sz="1400" b="1" baseline="30000" dirty="0">
                <a:solidFill>
                  <a:schemeClr val="bg1"/>
                </a:solidFill>
              </a:rPr>
              <a:t>st</a:t>
            </a:r>
            <a:r>
              <a:rPr lang="en-IN" sz="1400" b="1" dirty="0">
                <a:solidFill>
                  <a:schemeClr val="bg1"/>
                </a:solidFill>
              </a:rPr>
              <a:t> Sep</a:t>
            </a:r>
          </a:p>
        </p:txBody>
      </p:sp>
      <p:sp>
        <p:nvSpPr>
          <p:cNvPr id="50" name="TextBox 49">
            <a:extLst>
              <a:ext uri="{FF2B5EF4-FFF2-40B4-BE49-F238E27FC236}">
                <a16:creationId xmlns:a16="http://schemas.microsoft.com/office/drawing/2014/main" id="{89C1C76D-CA98-400D-8831-A7DF9CEEF2AF}"/>
              </a:ext>
            </a:extLst>
          </p:cNvPr>
          <p:cNvSpPr txBox="1"/>
          <p:nvPr/>
        </p:nvSpPr>
        <p:spPr>
          <a:xfrm>
            <a:off x="4800839" y="2520670"/>
            <a:ext cx="1536923" cy="215444"/>
          </a:xfrm>
          <a:prstGeom prst="rect">
            <a:avLst/>
          </a:prstGeom>
        </p:spPr>
        <p:txBody>
          <a:bodyPr vert="horz" wrap="square" lIns="0" tIns="0" rIns="0" bIns="0" rtlCol="0" anchor="t" anchorCtr="0">
            <a:spAutoFit/>
          </a:bodyPr>
          <a:lstStyle/>
          <a:p>
            <a:pPr algn="l"/>
            <a:r>
              <a:rPr lang="en-IN" sz="1400" b="1" dirty="0">
                <a:solidFill>
                  <a:schemeClr val="bg1"/>
                </a:solidFill>
              </a:rPr>
              <a:t>28</a:t>
            </a:r>
            <a:r>
              <a:rPr lang="en-IN" sz="1400" b="1" baseline="30000" dirty="0">
                <a:solidFill>
                  <a:schemeClr val="bg1"/>
                </a:solidFill>
              </a:rPr>
              <a:t>th</a:t>
            </a:r>
            <a:r>
              <a:rPr lang="en-IN" sz="1400" b="1" dirty="0">
                <a:solidFill>
                  <a:schemeClr val="bg1"/>
                </a:solidFill>
              </a:rPr>
              <a:t> Sep – 4</a:t>
            </a:r>
            <a:r>
              <a:rPr lang="en-IN" sz="1400" b="1" baseline="30000" dirty="0">
                <a:solidFill>
                  <a:schemeClr val="bg1"/>
                </a:solidFill>
              </a:rPr>
              <a:t>th</a:t>
            </a:r>
            <a:r>
              <a:rPr lang="en-IN" sz="1400" b="1" dirty="0">
                <a:solidFill>
                  <a:schemeClr val="bg1"/>
                </a:solidFill>
              </a:rPr>
              <a:t> Oct</a:t>
            </a:r>
          </a:p>
        </p:txBody>
      </p:sp>
      <p:pic>
        <p:nvPicPr>
          <p:cNvPr id="31" name="Picture 30">
            <a:extLst>
              <a:ext uri="{FF2B5EF4-FFF2-40B4-BE49-F238E27FC236}">
                <a16:creationId xmlns:a16="http://schemas.microsoft.com/office/drawing/2014/main" id="{C856FEC8-02C3-85AC-BFF4-6FB5419DE7E5}"/>
              </a:ext>
            </a:extLst>
          </p:cNvPr>
          <p:cNvPicPr>
            <a:picLocks noChangeAspect="1"/>
          </p:cNvPicPr>
          <p:nvPr/>
        </p:nvPicPr>
        <p:blipFill>
          <a:blip r:embed="rId2"/>
          <a:stretch>
            <a:fillRect/>
          </a:stretch>
        </p:blipFill>
        <p:spPr>
          <a:xfrm>
            <a:off x="9836548" y="465767"/>
            <a:ext cx="1621972" cy="1242924"/>
          </a:xfrm>
          <a:prstGeom prst="rect">
            <a:avLst/>
          </a:prstGeom>
        </p:spPr>
      </p:pic>
      <p:pic>
        <p:nvPicPr>
          <p:cNvPr id="32" name="Picture 31" descr="Shape&#10;&#10;Description automatically generated">
            <a:extLst>
              <a:ext uri="{FF2B5EF4-FFF2-40B4-BE49-F238E27FC236}">
                <a16:creationId xmlns:a16="http://schemas.microsoft.com/office/drawing/2014/main" id="{DA2CCD7C-7C29-E6B1-3011-EB22B393A5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961972" flipH="1">
            <a:off x="6718074" y="-2731315"/>
            <a:ext cx="4110135" cy="2904430"/>
          </a:xfrm>
          <a:prstGeom prst="rect">
            <a:avLst/>
          </a:prstGeom>
        </p:spPr>
      </p:pic>
      <p:sp>
        <p:nvSpPr>
          <p:cNvPr id="29" name="TextBox 28">
            <a:extLst>
              <a:ext uri="{FF2B5EF4-FFF2-40B4-BE49-F238E27FC236}">
                <a16:creationId xmlns:a16="http://schemas.microsoft.com/office/drawing/2014/main" id="{1CBDDC35-5B19-42FD-BAAB-9A9B7379AADE}"/>
              </a:ext>
            </a:extLst>
          </p:cNvPr>
          <p:cNvSpPr txBox="1"/>
          <p:nvPr/>
        </p:nvSpPr>
        <p:spPr>
          <a:xfrm>
            <a:off x="7506091" y="1967059"/>
            <a:ext cx="1087826" cy="215444"/>
          </a:xfrm>
          <a:prstGeom prst="rect">
            <a:avLst/>
          </a:prstGeom>
        </p:spPr>
        <p:txBody>
          <a:bodyPr vert="horz" wrap="square" lIns="0" tIns="0" rIns="0" bIns="0" rtlCol="0" anchor="t" anchorCtr="0">
            <a:spAutoFit/>
          </a:bodyPr>
          <a:lstStyle/>
          <a:p>
            <a:pPr algn="l"/>
            <a:r>
              <a:rPr lang="en-IN" sz="1400" b="1" dirty="0">
                <a:solidFill>
                  <a:schemeClr val="bg1"/>
                </a:solidFill>
              </a:rPr>
              <a:t>Nov 2022</a:t>
            </a:r>
          </a:p>
        </p:txBody>
      </p:sp>
    </p:spTree>
    <p:extLst>
      <p:ext uri="{BB962C8B-B14F-4D97-AF65-F5344CB8AC3E}">
        <p14:creationId xmlns:p14="http://schemas.microsoft.com/office/powerpoint/2010/main" val="2830161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480EAE30-41DF-4C62-8BAD-F92E18235DAE}"/>
              </a:ext>
            </a:extLst>
          </p:cNvPr>
          <p:cNvSpPr/>
          <p:nvPr/>
        </p:nvSpPr>
        <p:spPr>
          <a:xfrm>
            <a:off x="2144964" y="2582044"/>
            <a:ext cx="2376000" cy="28078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29" name="AutoShape 6">
            <a:extLst>
              <a:ext uri="{FF2B5EF4-FFF2-40B4-BE49-F238E27FC236}">
                <a16:creationId xmlns:a16="http://schemas.microsoft.com/office/drawing/2014/main" id="{0CD8347C-98BF-43ED-8FA3-6EA49C7F675E}"/>
              </a:ext>
            </a:extLst>
          </p:cNvPr>
          <p:cNvSpPr>
            <a:spLocks noChangeArrowheads="1"/>
          </p:cNvSpPr>
          <p:nvPr>
            <p:custDataLst>
              <p:tags r:id="rId1"/>
            </p:custDataLst>
          </p:nvPr>
        </p:nvSpPr>
        <p:spPr bwMode="auto">
          <a:xfrm rot="16200000">
            <a:off x="5782920" y="-2241885"/>
            <a:ext cx="716711" cy="8783984"/>
          </a:xfrm>
          <a:prstGeom prst="homePlate">
            <a:avLst>
              <a:gd name="adj" fmla="val 66805"/>
            </a:avLst>
          </a:prstGeom>
          <a:solidFill>
            <a:schemeClr val="accent2"/>
          </a:solidFill>
          <a:ln w="9525">
            <a:noFill/>
            <a:miter lim="800000"/>
            <a:headEnd/>
            <a:tailEnd/>
          </a:ln>
          <a:effectLst/>
        </p:spPr>
        <p:txBody>
          <a:bodyPr vert="eaVert" wrap="none" lIns="90000" tIns="46800" rIns="90000" bIns="4680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Ubuntu Medium"/>
              <a:ea typeface="+mn-ea"/>
              <a:cs typeface="Calibri" pitchFamily="34" charset="0"/>
            </a:endParaRPr>
          </a:p>
        </p:txBody>
      </p:sp>
      <p:sp>
        <p:nvSpPr>
          <p:cNvPr id="31" name="Rectangle 5">
            <a:extLst>
              <a:ext uri="{FF2B5EF4-FFF2-40B4-BE49-F238E27FC236}">
                <a16:creationId xmlns:a16="http://schemas.microsoft.com/office/drawing/2014/main" id="{748EB9C8-D32E-482C-A94D-E2361A817F20}"/>
              </a:ext>
            </a:extLst>
          </p:cNvPr>
          <p:cNvSpPr>
            <a:spLocks noChangeArrowheads="1"/>
          </p:cNvSpPr>
          <p:nvPr/>
        </p:nvSpPr>
        <p:spPr bwMode="auto">
          <a:xfrm>
            <a:off x="1704008" y="5463450"/>
            <a:ext cx="8783984" cy="431800"/>
          </a:xfrm>
          <a:prstGeom prst="rect">
            <a:avLst/>
          </a:prstGeom>
          <a:solidFill>
            <a:schemeClr val="accent2"/>
          </a:solidFill>
          <a:ln w="9525">
            <a:noFill/>
            <a:miter lim="800000"/>
            <a:headEnd/>
            <a:tailEnd/>
          </a:ln>
          <a:effectLst/>
        </p:spPr>
        <p:txBody>
          <a:bodyPr lIns="90000" anchor="ctr"/>
          <a:lstStyle/>
          <a:p>
            <a:pPr marL="0" marR="0" lvl="1" indent="0" algn="ctr" defTabSz="914400" rtl="0" eaLnBrk="1" fontAlgn="auto" latinLnBrk="0" hangingPunct="1">
              <a:lnSpc>
                <a:spcPct val="90000"/>
              </a:lnSpc>
              <a:spcBef>
                <a:spcPts val="0"/>
              </a:spcBef>
              <a:spcAft>
                <a:spcPts val="0"/>
              </a:spcAft>
              <a:buClr>
                <a:srgbClr val="12ABDB"/>
              </a:buClr>
              <a:buSzTx/>
              <a:buFont typeface="Arial" charset="0"/>
              <a:buNone/>
              <a:tabLst/>
              <a:defRPr/>
            </a:pPr>
            <a:endParaRPr kumimoji="0" lang="en-US" sz="1600" b="0" i="0" u="none" strike="noStrike" kern="1200" cap="none" spc="0" normalizeH="0" baseline="0" noProof="0" dirty="0">
              <a:ln>
                <a:noFill/>
              </a:ln>
              <a:solidFill>
                <a:srgbClr val="FFFFFF"/>
              </a:solidFill>
              <a:effectLst/>
              <a:uLnTx/>
              <a:uFillTx/>
              <a:latin typeface="Ubuntu Medium"/>
              <a:ea typeface="+mn-ea"/>
              <a:cs typeface="Calibri" pitchFamily="34" charset="0"/>
            </a:endParaRPr>
          </a:p>
        </p:txBody>
      </p:sp>
      <p:sp>
        <p:nvSpPr>
          <p:cNvPr id="37" name="Rectangle 36">
            <a:extLst>
              <a:ext uri="{FF2B5EF4-FFF2-40B4-BE49-F238E27FC236}">
                <a16:creationId xmlns:a16="http://schemas.microsoft.com/office/drawing/2014/main" id="{AC5CF148-5D5F-4124-850D-5ACB54A42DAC}"/>
              </a:ext>
            </a:extLst>
          </p:cNvPr>
          <p:cNvSpPr/>
          <p:nvPr/>
        </p:nvSpPr>
        <p:spPr>
          <a:xfrm>
            <a:off x="4953276" y="2582044"/>
            <a:ext cx="2376000" cy="28078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38" name="Rectangle 37">
            <a:extLst>
              <a:ext uri="{FF2B5EF4-FFF2-40B4-BE49-F238E27FC236}">
                <a16:creationId xmlns:a16="http://schemas.microsoft.com/office/drawing/2014/main" id="{3A145E02-9A0D-4F6A-AEDB-E85FC01BB378}"/>
              </a:ext>
            </a:extLst>
          </p:cNvPr>
          <p:cNvSpPr/>
          <p:nvPr/>
        </p:nvSpPr>
        <p:spPr>
          <a:xfrm>
            <a:off x="7761588" y="2582044"/>
            <a:ext cx="2376000" cy="28078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39" name="Rectangle 3">
            <a:extLst>
              <a:ext uri="{FF2B5EF4-FFF2-40B4-BE49-F238E27FC236}">
                <a16:creationId xmlns:a16="http://schemas.microsoft.com/office/drawing/2014/main" id="{90875018-6A5C-4C46-A397-7B2B5578FB05}"/>
              </a:ext>
            </a:extLst>
          </p:cNvPr>
          <p:cNvSpPr>
            <a:spLocks noGrp="1"/>
          </p:cNvSpPr>
          <p:nvPr>
            <p:custDataLst>
              <p:tags r:id="rId2"/>
            </p:custDataLst>
          </p:nvPr>
        </p:nvSpPr>
        <p:spPr bwMode="auto">
          <a:xfrm>
            <a:off x="2288848" y="2582012"/>
            <a:ext cx="2088232" cy="2808000"/>
          </a:xfrm>
          <a:prstGeom prst="rect">
            <a:avLst/>
          </a:prstGeom>
          <a:solidFill>
            <a:schemeClr val="bg2"/>
          </a:solidFill>
          <a:ln w="9525">
            <a:noFill/>
            <a:miter lim="800000"/>
            <a:headEnd/>
            <a:tailEnd/>
          </a:ln>
          <a:effectLst/>
        </p:spPr>
        <p:txBody>
          <a:bodyPr lIns="90000" tIns="46800"/>
          <a:lstStyle>
            <a:lvl1pPr marL="182563" indent="-182563" algn="l" rtl="0" eaLnBrk="1" fontAlgn="base" hangingPunct="1">
              <a:lnSpc>
                <a:spcPct val="90000"/>
              </a:lnSpc>
              <a:spcBef>
                <a:spcPts val="0"/>
              </a:spcBef>
              <a:spcAft>
                <a:spcPts val="400"/>
              </a:spcAft>
              <a:buClr>
                <a:schemeClr val="accent2"/>
              </a:buClr>
              <a:buSzPct val="10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14400" rtl="0" eaLnBrk="1" fontAlgn="base" latinLnBrk="0" hangingPunct="1">
              <a:lnSpc>
                <a:spcPct val="100000"/>
              </a:lnSpc>
              <a:spcBef>
                <a:spcPts val="0"/>
              </a:spcBef>
              <a:spcAft>
                <a:spcPts val="600"/>
              </a:spcAft>
              <a:buClr>
                <a:srgbClr val="272936"/>
              </a:buClr>
              <a:buSzPct val="200000"/>
              <a:buBlip>
                <a:blip r:embed="rId6">
                  <a:extLst>
                    <a:ext uri="{96DAC541-7B7A-43D3-8B79-37D633B846F1}">
                      <asvg:svgBlip xmlns:asvg="http://schemas.microsoft.com/office/drawing/2016/SVG/main" r:embed="rId7"/>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Digital Experience and Intelligent Industry</a:t>
            </a:r>
            <a:endParaRPr kumimoji="0" lang="en-US" sz="1400" u="none" strike="noStrike" kern="1200" cap="none" spc="0" normalizeH="0" baseline="0" noProof="0" dirty="0">
              <a:ln>
                <a:noFill/>
              </a:ln>
              <a:solidFill>
                <a:prstClr val="black"/>
              </a:solidFill>
              <a:effectLst/>
              <a:uLnTx/>
              <a:uFillTx/>
              <a:latin typeface="Ubuntu Light" panose="020B0304030602030204" pitchFamily="34" charset="0"/>
            </a:endParaRPr>
          </a:p>
          <a:p>
            <a:pPr marL="285750" marR="0" lvl="1" indent="-285750" algn="l" defTabSz="914400" rtl="0" eaLnBrk="1" fontAlgn="base" latinLnBrk="0" hangingPunct="1">
              <a:lnSpc>
                <a:spcPct val="100000"/>
              </a:lnSpc>
              <a:spcBef>
                <a:spcPts val="0"/>
              </a:spcBef>
              <a:spcAft>
                <a:spcPts val="600"/>
              </a:spcAft>
              <a:buClr>
                <a:srgbClr val="272936"/>
              </a:buClr>
              <a:buSzPct val="200000"/>
              <a:buBlip>
                <a:blip r:embed="rId6">
                  <a:extLst>
                    <a:ext uri="{96DAC541-7B7A-43D3-8B79-37D633B846F1}">
                      <asvg:svgBlip xmlns:asvg="http://schemas.microsoft.com/office/drawing/2016/SVG/main" r:embed="rId7"/>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Network Management through Cloud S</a:t>
            </a:r>
            <a:r>
              <a:rPr kumimoji="0" lang="en-IN" sz="1400" u="none" strike="noStrike" kern="1200" cap="none" spc="0" normalizeH="0" baseline="0" noProof="0" dirty="0" err="1">
                <a:ln>
                  <a:noFill/>
                </a:ln>
                <a:solidFill>
                  <a:prstClr val="black"/>
                </a:solidFill>
                <a:effectLst/>
                <a:uLnTx/>
                <a:uFillTx/>
                <a:latin typeface="Ubuntu Light" panose="020B0304030602030204" pitchFamily="34" charset="0"/>
              </a:rPr>
              <a:t>oftware</a:t>
            </a:r>
            <a:endParaRPr kumimoji="0" lang="en-IN" sz="1400" u="none" strike="noStrike" kern="1200" cap="none" spc="0" normalizeH="0" baseline="0" noProof="0" dirty="0">
              <a:ln>
                <a:noFill/>
              </a:ln>
              <a:solidFill>
                <a:prstClr val="black"/>
              </a:solidFill>
              <a:effectLst/>
              <a:uLnTx/>
              <a:uFillTx/>
              <a:latin typeface="Ubuntu Light" panose="020B0304030602030204" pitchFamily="34" charset="0"/>
            </a:endParaRPr>
          </a:p>
          <a:p>
            <a:pPr marL="285750" marR="0" lvl="1" indent="-285750" algn="l" defTabSz="914400" rtl="0" eaLnBrk="1" fontAlgn="base" latinLnBrk="0" hangingPunct="1">
              <a:lnSpc>
                <a:spcPct val="100000"/>
              </a:lnSpc>
              <a:spcBef>
                <a:spcPts val="0"/>
              </a:spcBef>
              <a:spcAft>
                <a:spcPts val="600"/>
              </a:spcAft>
              <a:buClr>
                <a:srgbClr val="272936"/>
              </a:buClr>
              <a:buSzPct val="200000"/>
              <a:buBlip>
                <a:blip r:embed="rId6">
                  <a:extLst>
                    <a:ext uri="{96DAC541-7B7A-43D3-8B79-37D633B846F1}">
                      <asvg:svgBlip xmlns:asvg="http://schemas.microsoft.com/office/drawing/2016/SVG/main" r:embed="rId7"/>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TCO Reduction and Improvement in Efficiency using Cloud</a:t>
            </a:r>
            <a:endParaRPr kumimoji="0" lang="en-US" sz="1400" u="none" strike="noStrike" kern="1200" cap="none" spc="0" normalizeH="0" baseline="0" noProof="0" dirty="0">
              <a:ln>
                <a:noFill/>
              </a:ln>
              <a:solidFill>
                <a:prstClr val="black"/>
              </a:solidFill>
              <a:effectLst/>
              <a:uLnTx/>
              <a:uFillTx/>
              <a:latin typeface="Ubuntu Light" panose="020B0304030602030204" pitchFamily="34" charset="0"/>
            </a:endParaRPr>
          </a:p>
        </p:txBody>
      </p:sp>
      <p:sp>
        <p:nvSpPr>
          <p:cNvPr id="40" name="Rectangle 3">
            <a:extLst>
              <a:ext uri="{FF2B5EF4-FFF2-40B4-BE49-F238E27FC236}">
                <a16:creationId xmlns:a16="http://schemas.microsoft.com/office/drawing/2014/main" id="{1AE58B54-17C0-4D1D-A385-669D41658CFA}"/>
              </a:ext>
            </a:extLst>
          </p:cNvPr>
          <p:cNvSpPr>
            <a:spLocks noGrp="1"/>
          </p:cNvSpPr>
          <p:nvPr>
            <p:custDataLst>
              <p:tags r:id="rId3"/>
            </p:custDataLst>
          </p:nvPr>
        </p:nvSpPr>
        <p:spPr bwMode="auto">
          <a:xfrm>
            <a:off x="5097160" y="2582044"/>
            <a:ext cx="2088232" cy="2808000"/>
          </a:xfrm>
          <a:prstGeom prst="rect">
            <a:avLst/>
          </a:prstGeom>
          <a:solidFill>
            <a:schemeClr val="bg2"/>
          </a:solidFill>
          <a:ln w="9525">
            <a:noFill/>
            <a:miter lim="800000"/>
            <a:headEnd/>
            <a:tailEnd/>
          </a:ln>
          <a:effectLst/>
        </p:spPr>
        <p:txBody>
          <a:bodyPr lIns="90000" tIns="46800"/>
          <a:lstStyle>
            <a:lvl1pPr marL="182563" indent="-182563" algn="l" rtl="0" eaLnBrk="1" fontAlgn="base" hangingPunct="1">
              <a:lnSpc>
                <a:spcPct val="90000"/>
              </a:lnSpc>
              <a:spcBef>
                <a:spcPts val="0"/>
              </a:spcBef>
              <a:spcAft>
                <a:spcPts val="400"/>
              </a:spcAft>
              <a:buClr>
                <a:schemeClr val="accent2"/>
              </a:buClr>
              <a:buSzPct val="10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14400" rtl="0" eaLnBrk="1" fontAlgn="base" latinLnBrk="0" hangingPunct="1">
              <a:lnSpc>
                <a:spcPct val="100000"/>
              </a:lnSpc>
              <a:spcBef>
                <a:spcPts val="0"/>
              </a:spcBef>
              <a:spcAft>
                <a:spcPts val="600"/>
              </a:spcAft>
              <a:buClr>
                <a:srgbClr val="272936"/>
              </a:buClr>
              <a:buSzPct val="125000"/>
              <a:buBlip>
                <a:blip r:embed="rId8">
                  <a:extLst>
                    <a:ext uri="{96DAC541-7B7A-43D3-8B79-37D633B846F1}">
                      <asvg:svgBlip xmlns:asvg="http://schemas.microsoft.com/office/drawing/2016/SVG/main" r:embed="rId9"/>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Accelerate </a:t>
            </a:r>
            <a:r>
              <a:rPr lang="en-IN" sz="1400" dirty="0">
                <a:solidFill>
                  <a:prstClr val="black"/>
                </a:solidFill>
                <a:latin typeface="Ubuntu Light" panose="020B0304030602030204" pitchFamily="34" charset="0"/>
              </a:rPr>
              <a:t>C</a:t>
            </a:r>
            <a:r>
              <a:rPr kumimoji="0" lang="en-IN" sz="1400" u="none" strike="noStrike" kern="1200" cap="none" spc="0" normalizeH="0" baseline="0" noProof="0" dirty="0" err="1">
                <a:ln>
                  <a:noFill/>
                </a:ln>
                <a:solidFill>
                  <a:prstClr val="black"/>
                </a:solidFill>
                <a:effectLst/>
                <a:uLnTx/>
                <a:uFillTx/>
                <a:latin typeface="Ubuntu Light" panose="020B0304030602030204" pitchFamily="34" charset="0"/>
              </a:rPr>
              <a:t>ontent</a:t>
            </a: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 Production and Acquisition</a:t>
            </a:r>
          </a:p>
          <a:p>
            <a:pPr marL="285750" marR="0" lvl="1" indent="-285750" algn="l" defTabSz="914400" rtl="0" eaLnBrk="1" fontAlgn="base" latinLnBrk="0" hangingPunct="1">
              <a:lnSpc>
                <a:spcPct val="100000"/>
              </a:lnSpc>
              <a:spcBef>
                <a:spcPts val="0"/>
              </a:spcBef>
              <a:spcAft>
                <a:spcPts val="600"/>
              </a:spcAft>
              <a:buClr>
                <a:srgbClr val="272936"/>
              </a:buClr>
              <a:buSzPct val="125000"/>
              <a:buBlip>
                <a:blip r:embed="rId8">
                  <a:extLst>
                    <a:ext uri="{96DAC541-7B7A-43D3-8B79-37D633B846F1}">
                      <asvg:svgBlip xmlns:asvg="http://schemas.microsoft.com/office/drawing/2016/SVG/main" r:embed="rId9"/>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Optimize Content Delivery</a:t>
            </a:r>
          </a:p>
          <a:p>
            <a:pPr marL="285750" marR="0" lvl="1" indent="-285750" algn="l" defTabSz="914400" rtl="0" eaLnBrk="1" fontAlgn="base" latinLnBrk="0" hangingPunct="1">
              <a:lnSpc>
                <a:spcPct val="100000"/>
              </a:lnSpc>
              <a:spcBef>
                <a:spcPts val="0"/>
              </a:spcBef>
              <a:spcAft>
                <a:spcPts val="600"/>
              </a:spcAft>
              <a:buClr>
                <a:srgbClr val="272936"/>
              </a:buClr>
              <a:buSzPct val="125000"/>
              <a:buBlip>
                <a:blip r:embed="rId8">
                  <a:extLst>
                    <a:ext uri="{96DAC541-7B7A-43D3-8B79-37D633B846F1}">
                      <asvg:svgBlip xmlns:asvg="http://schemas.microsoft.com/office/drawing/2016/SVG/main" r:embed="rId9"/>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Enhanced Audience Experiences</a:t>
            </a:r>
          </a:p>
          <a:p>
            <a:pPr marL="285750" marR="0" lvl="1" indent="-285750" algn="l" defTabSz="914400" rtl="0" eaLnBrk="1" fontAlgn="base" latinLnBrk="0" hangingPunct="1">
              <a:lnSpc>
                <a:spcPct val="100000"/>
              </a:lnSpc>
              <a:spcBef>
                <a:spcPts val="0"/>
              </a:spcBef>
              <a:spcAft>
                <a:spcPts val="600"/>
              </a:spcAft>
              <a:buClr>
                <a:srgbClr val="272936"/>
              </a:buClr>
              <a:buSzPct val="125000"/>
              <a:buBlip>
                <a:blip r:embed="rId8">
                  <a:extLst>
                    <a:ext uri="{96DAC541-7B7A-43D3-8B79-37D633B846F1}">
                      <asvg:svgBlip xmlns:asvg="http://schemas.microsoft.com/office/drawing/2016/SVG/main" r:embed="rId9"/>
                    </a:ext>
                  </a:extLst>
                </a:blip>
              </a:buBlip>
              <a:tabLst/>
              <a:defRPr/>
            </a:pPr>
            <a:r>
              <a:rPr kumimoji="0" lang="en-US" sz="1400" u="none" strike="noStrike" kern="1200" cap="none" spc="0" normalizeH="0" baseline="0" noProof="0" dirty="0">
                <a:ln>
                  <a:noFill/>
                </a:ln>
                <a:solidFill>
                  <a:prstClr val="black"/>
                </a:solidFill>
                <a:effectLst/>
                <a:uLnTx/>
                <a:uFillTx/>
                <a:latin typeface="Ubuntu Light" panose="020B0304030602030204" pitchFamily="34" charset="0"/>
              </a:rPr>
              <a:t>Monetize Content </a:t>
            </a:r>
          </a:p>
        </p:txBody>
      </p:sp>
      <p:sp>
        <p:nvSpPr>
          <p:cNvPr id="42" name="Rectangle 3">
            <a:extLst>
              <a:ext uri="{FF2B5EF4-FFF2-40B4-BE49-F238E27FC236}">
                <a16:creationId xmlns:a16="http://schemas.microsoft.com/office/drawing/2014/main" id="{8F717532-BA33-40A7-8E32-1023BB9DF69C}"/>
              </a:ext>
            </a:extLst>
          </p:cNvPr>
          <p:cNvSpPr>
            <a:spLocks noGrp="1"/>
          </p:cNvSpPr>
          <p:nvPr>
            <p:custDataLst>
              <p:tags r:id="rId4"/>
            </p:custDataLst>
          </p:nvPr>
        </p:nvSpPr>
        <p:spPr bwMode="auto">
          <a:xfrm>
            <a:off x="7905472" y="2582044"/>
            <a:ext cx="2088232" cy="2808000"/>
          </a:xfrm>
          <a:prstGeom prst="rect">
            <a:avLst/>
          </a:prstGeom>
          <a:solidFill>
            <a:schemeClr val="bg2"/>
          </a:solidFill>
          <a:ln w="9525">
            <a:noFill/>
            <a:miter lim="800000"/>
            <a:headEnd/>
            <a:tailEnd/>
          </a:ln>
          <a:effectLst/>
        </p:spPr>
        <p:txBody>
          <a:bodyPr lIns="90000" tIns="46800"/>
          <a:lstStyle>
            <a:lvl1pPr marL="182563" indent="-182563" algn="l" rtl="0" eaLnBrk="1" fontAlgn="base" hangingPunct="1">
              <a:lnSpc>
                <a:spcPct val="90000"/>
              </a:lnSpc>
              <a:spcBef>
                <a:spcPts val="0"/>
              </a:spcBef>
              <a:spcAft>
                <a:spcPts val="400"/>
              </a:spcAft>
              <a:buClr>
                <a:schemeClr val="accent2"/>
              </a:buClr>
              <a:buSzPct val="10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14400" rtl="0" eaLnBrk="1" fontAlgn="base" latinLnBrk="0" hangingPunct="1">
              <a:lnSpc>
                <a:spcPct val="100000"/>
              </a:lnSpc>
              <a:spcBef>
                <a:spcPts val="0"/>
              </a:spcBef>
              <a:spcAft>
                <a:spcPts val="600"/>
              </a:spcAft>
              <a:buClr>
                <a:srgbClr val="272936"/>
              </a:buClr>
              <a:buSzPct val="150000"/>
              <a:buBlip>
                <a:blip r:embed="rId10">
                  <a:extLst>
                    <a:ext uri="{96DAC541-7B7A-43D3-8B79-37D633B846F1}">
                      <asvg:svgBlip xmlns:asvg="http://schemas.microsoft.com/office/drawing/2016/SVG/main" r:embed="rId11"/>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Subscription and Servitization </a:t>
            </a:r>
          </a:p>
          <a:p>
            <a:pPr marL="285750" marR="0" lvl="1" indent="-285750" algn="l" defTabSz="914400" rtl="0" eaLnBrk="1" fontAlgn="base" latinLnBrk="0" hangingPunct="1">
              <a:lnSpc>
                <a:spcPct val="100000"/>
              </a:lnSpc>
              <a:spcBef>
                <a:spcPts val="0"/>
              </a:spcBef>
              <a:spcAft>
                <a:spcPts val="600"/>
              </a:spcAft>
              <a:buClr>
                <a:srgbClr val="272936"/>
              </a:buClr>
              <a:buSzPct val="150000"/>
              <a:buBlip>
                <a:blip r:embed="rId10">
                  <a:extLst>
                    <a:ext uri="{96DAC541-7B7A-43D3-8B79-37D633B846F1}">
                      <asvg:svgBlip xmlns:asvg="http://schemas.microsoft.com/office/drawing/2016/SVG/main" r:embed="rId11"/>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Scale with Platform Companies </a:t>
            </a:r>
          </a:p>
          <a:p>
            <a:pPr marL="285750" marR="0" lvl="1" indent="-285750" algn="l" defTabSz="914400" rtl="0" eaLnBrk="1" fontAlgn="base" latinLnBrk="0" hangingPunct="1">
              <a:lnSpc>
                <a:spcPct val="100000"/>
              </a:lnSpc>
              <a:spcBef>
                <a:spcPts val="0"/>
              </a:spcBef>
              <a:spcAft>
                <a:spcPts val="600"/>
              </a:spcAft>
              <a:buClr>
                <a:srgbClr val="272936"/>
              </a:buClr>
              <a:buSzPct val="150000"/>
              <a:buBlip>
                <a:blip r:embed="rId10">
                  <a:extLst>
                    <a:ext uri="{96DAC541-7B7A-43D3-8B79-37D633B846F1}">
                      <asvg:svgBlip xmlns:asvg="http://schemas.microsoft.com/office/drawing/2016/SVG/main" r:embed="rId11"/>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Product Transformation</a:t>
            </a:r>
          </a:p>
          <a:p>
            <a:pPr marL="285750" marR="0" lvl="1" indent="-285750" algn="l" defTabSz="914400" rtl="0" eaLnBrk="1" fontAlgn="base" latinLnBrk="0" hangingPunct="1">
              <a:lnSpc>
                <a:spcPct val="100000"/>
              </a:lnSpc>
              <a:spcBef>
                <a:spcPts val="0"/>
              </a:spcBef>
              <a:spcAft>
                <a:spcPts val="600"/>
              </a:spcAft>
              <a:buClr>
                <a:srgbClr val="272936"/>
              </a:buClr>
              <a:buSzPct val="150000"/>
              <a:buBlip>
                <a:blip r:embed="rId10">
                  <a:extLst>
                    <a:ext uri="{96DAC541-7B7A-43D3-8B79-37D633B846F1}">
                      <asvg:svgBlip xmlns:asvg="http://schemas.microsoft.com/office/drawing/2016/SVG/main" r:embed="rId11"/>
                    </a:ext>
                  </a:extLst>
                </a:blip>
              </a:buBlip>
              <a:tabLst/>
              <a:defRPr/>
            </a:pPr>
            <a:r>
              <a:rPr kumimoji="0" lang="en-US" sz="1400" u="none" strike="noStrike" kern="1200" cap="none" spc="0" normalizeH="0" baseline="0" noProof="0" dirty="0">
                <a:ln>
                  <a:noFill/>
                </a:ln>
                <a:solidFill>
                  <a:prstClr val="black"/>
                </a:solidFill>
                <a:effectLst/>
                <a:uLnTx/>
                <a:uFillTx/>
                <a:latin typeface="Ubuntu Light" panose="020B0304030602030204" pitchFamily="34" charset="0"/>
              </a:rPr>
              <a:t>Sustainability</a:t>
            </a:r>
          </a:p>
        </p:txBody>
      </p:sp>
      <p:sp>
        <p:nvSpPr>
          <p:cNvPr id="2" name="TextBox 1">
            <a:extLst>
              <a:ext uri="{FF2B5EF4-FFF2-40B4-BE49-F238E27FC236}">
                <a16:creationId xmlns:a16="http://schemas.microsoft.com/office/drawing/2014/main" id="{FE8F62D0-1204-4489-9221-F77160055E5E}"/>
              </a:ext>
            </a:extLst>
          </p:cNvPr>
          <p:cNvSpPr txBox="1"/>
          <p:nvPr/>
        </p:nvSpPr>
        <p:spPr>
          <a:xfrm>
            <a:off x="2279080" y="5556238"/>
            <a:ext cx="2088232" cy="246221"/>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Ubuntu"/>
                <a:ea typeface="+mn-ea"/>
                <a:cs typeface="+mn-cs"/>
              </a:rPr>
              <a:t>Telecommunications</a:t>
            </a:r>
            <a:endParaRPr kumimoji="0" lang="en-IN" sz="1400" b="1" i="0" u="none" strike="noStrike" kern="1200" cap="none" spc="0" normalizeH="0" baseline="0" noProof="0" dirty="0">
              <a:ln>
                <a:noFill/>
              </a:ln>
              <a:solidFill>
                <a:srgbClr val="FFFFFF"/>
              </a:solidFill>
              <a:effectLst/>
              <a:uLnTx/>
              <a:uFillTx/>
              <a:latin typeface="Ubuntu"/>
              <a:ea typeface="+mn-ea"/>
              <a:cs typeface="+mn-cs"/>
            </a:endParaRPr>
          </a:p>
        </p:txBody>
      </p:sp>
      <p:sp>
        <p:nvSpPr>
          <p:cNvPr id="43" name="TextBox 42">
            <a:extLst>
              <a:ext uri="{FF2B5EF4-FFF2-40B4-BE49-F238E27FC236}">
                <a16:creationId xmlns:a16="http://schemas.microsoft.com/office/drawing/2014/main" id="{F3A31993-D01E-4789-B299-3CB3A83431A7}"/>
              </a:ext>
            </a:extLst>
          </p:cNvPr>
          <p:cNvSpPr txBox="1"/>
          <p:nvPr/>
        </p:nvSpPr>
        <p:spPr>
          <a:xfrm>
            <a:off x="4929383" y="5556239"/>
            <a:ext cx="2313697" cy="246221"/>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Ubuntu"/>
                <a:ea typeface="+mn-ea"/>
                <a:cs typeface="+mn-cs"/>
              </a:rPr>
              <a:t>Media &amp; Entertainment</a:t>
            </a:r>
          </a:p>
        </p:txBody>
      </p:sp>
      <p:sp>
        <p:nvSpPr>
          <p:cNvPr id="44" name="TextBox 43">
            <a:extLst>
              <a:ext uri="{FF2B5EF4-FFF2-40B4-BE49-F238E27FC236}">
                <a16:creationId xmlns:a16="http://schemas.microsoft.com/office/drawing/2014/main" id="{FB4E449F-769E-4D62-9F50-B22E5D7089B6}"/>
              </a:ext>
            </a:extLst>
          </p:cNvPr>
          <p:cNvSpPr txBox="1"/>
          <p:nvPr/>
        </p:nvSpPr>
        <p:spPr>
          <a:xfrm>
            <a:off x="7895704" y="5556239"/>
            <a:ext cx="2088232" cy="246221"/>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Ubuntu"/>
                <a:ea typeface="+mn-ea"/>
                <a:cs typeface="+mn-cs"/>
              </a:rPr>
              <a:t>High - Tech</a:t>
            </a:r>
          </a:p>
        </p:txBody>
      </p:sp>
      <p:grpSp>
        <p:nvGrpSpPr>
          <p:cNvPr id="45" name="Groupe 632">
            <a:extLst>
              <a:ext uri="{FF2B5EF4-FFF2-40B4-BE49-F238E27FC236}">
                <a16:creationId xmlns:a16="http://schemas.microsoft.com/office/drawing/2014/main" id="{172E2574-6553-4B4E-AA85-8A84427F3D5C}"/>
              </a:ext>
            </a:extLst>
          </p:cNvPr>
          <p:cNvGrpSpPr>
            <a:grpSpLocks noChangeAspect="1"/>
          </p:cNvGrpSpPr>
          <p:nvPr/>
        </p:nvGrpSpPr>
        <p:grpSpPr>
          <a:xfrm>
            <a:off x="2884825" y="1688887"/>
            <a:ext cx="894610" cy="840168"/>
            <a:chOff x="747713" y="671513"/>
            <a:chExt cx="965200" cy="906462"/>
          </a:xfrm>
        </p:grpSpPr>
        <p:sp>
          <p:nvSpPr>
            <p:cNvPr id="46" name="Freeform 29">
              <a:extLst>
                <a:ext uri="{FF2B5EF4-FFF2-40B4-BE49-F238E27FC236}">
                  <a16:creationId xmlns:a16="http://schemas.microsoft.com/office/drawing/2014/main" id="{CFC6A428-F791-43C6-8C8A-02575FA0074F}"/>
                </a:ext>
              </a:extLst>
            </p:cNvPr>
            <p:cNvSpPr>
              <a:spLocks/>
            </p:cNvSpPr>
            <p:nvPr/>
          </p:nvSpPr>
          <p:spPr bwMode="auto">
            <a:xfrm>
              <a:off x="747713" y="671513"/>
              <a:ext cx="965200" cy="90646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30" y="208"/>
                    <a:pt x="15" y="147"/>
                  </a:cubicBezTo>
                </a:path>
              </a:pathLst>
            </a:custGeom>
            <a:solidFill>
              <a:srgbClr val="12ABDB"/>
            </a:solidFill>
            <a:ln w="381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grpSp>
          <p:nvGrpSpPr>
            <p:cNvPr id="47" name="Groupe 634">
              <a:extLst>
                <a:ext uri="{FF2B5EF4-FFF2-40B4-BE49-F238E27FC236}">
                  <a16:creationId xmlns:a16="http://schemas.microsoft.com/office/drawing/2014/main" id="{D2F93961-9AB7-4527-A39B-69A278736B08}"/>
                </a:ext>
              </a:extLst>
            </p:cNvPr>
            <p:cNvGrpSpPr/>
            <p:nvPr/>
          </p:nvGrpSpPr>
          <p:grpSpPr>
            <a:xfrm>
              <a:off x="1022350" y="869950"/>
              <a:ext cx="438151" cy="496887"/>
              <a:chOff x="1022350" y="869950"/>
              <a:chExt cx="438151" cy="496887"/>
            </a:xfrm>
          </p:grpSpPr>
          <p:sp>
            <p:nvSpPr>
              <p:cNvPr id="48" name="Freeform 30">
                <a:extLst>
                  <a:ext uri="{FF2B5EF4-FFF2-40B4-BE49-F238E27FC236}">
                    <a16:creationId xmlns:a16="http://schemas.microsoft.com/office/drawing/2014/main" id="{C774B379-0CF5-40DD-A4CD-6D188F880A8D}"/>
                  </a:ext>
                </a:extLst>
              </p:cNvPr>
              <p:cNvSpPr>
                <a:spLocks noEditPoints="1"/>
              </p:cNvSpPr>
              <p:nvPr/>
            </p:nvSpPr>
            <p:spPr bwMode="auto">
              <a:xfrm>
                <a:off x="1022350" y="990600"/>
                <a:ext cx="314325" cy="376237"/>
              </a:xfrm>
              <a:custGeom>
                <a:avLst/>
                <a:gdLst>
                  <a:gd name="T0" fmla="*/ 45 w 84"/>
                  <a:gd name="T1" fmla="*/ 77 h 100"/>
                  <a:gd name="T2" fmla="*/ 22 w 84"/>
                  <a:gd name="T3" fmla="*/ 77 h 100"/>
                  <a:gd name="T4" fmla="*/ 32 w 84"/>
                  <a:gd name="T5" fmla="*/ 59 h 100"/>
                  <a:gd name="T6" fmla="*/ 37 w 84"/>
                  <a:gd name="T7" fmla="*/ 62 h 100"/>
                  <a:gd name="T8" fmla="*/ 45 w 84"/>
                  <a:gd name="T9" fmla="*/ 77 h 100"/>
                  <a:gd name="T10" fmla="*/ 64 w 84"/>
                  <a:gd name="T11" fmla="*/ 19 h 100"/>
                  <a:gd name="T12" fmla="*/ 66 w 84"/>
                  <a:gd name="T13" fmla="*/ 20 h 100"/>
                  <a:gd name="T14" fmla="*/ 60 w 84"/>
                  <a:gd name="T15" fmla="*/ 32 h 100"/>
                  <a:gd name="T16" fmla="*/ 52 w 84"/>
                  <a:gd name="T17" fmla="*/ 24 h 100"/>
                  <a:gd name="T18" fmla="*/ 64 w 84"/>
                  <a:gd name="T19" fmla="*/ 19 h 100"/>
                  <a:gd name="T20" fmla="*/ 72 w 84"/>
                  <a:gd name="T21" fmla="*/ 6 h 100"/>
                  <a:gd name="T22" fmla="*/ 78 w 84"/>
                  <a:gd name="T23" fmla="*/ 11 h 100"/>
                  <a:gd name="T24" fmla="*/ 72 w 84"/>
                  <a:gd name="T25" fmla="*/ 17 h 100"/>
                  <a:gd name="T26" fmla="*/ 67 w 84"/>
                  <a:gd name="T27" fmla="*/ 11 h 100"/>
                  <a:gd name="T28" fmla="*/ 72 w 84"/>
                  <a:gd name="T29" fmla="*/ 6 h 100"/>
                  <a:gd name="T30" fmla="*/ 84 w 84"/>
                  <a:gd name="T31" fmla="*/ 56 h 100"/>
                  <a:gd name="T32" fmla="*/ 64 w 84"/>
                  <a:gd name="T33" fmla="*/ 37 h 100"/>
                  <a:gd name="T34" fmla="*/ 71 w 84"/>
                  <a:gd name="T35" fmla="*/ 22 h 100"/>
                  <a:gd name="T36" fmla="*/ 83 w 84"/>
                  <a:gd name="T37" fmla="*/ 11 h 100"/>
                  <a:gd name="T38" fmla="*/ 73 w 84"/>
                  <a:gd name="T39" fmla="*/ 0 h 100"/>
                  <a:gd name="T40" fmla="*/ 62 w 84"/>
                  <a:gd name="T41" fmla="*/ 13 h 100"/>
                  <a:gd name="T42" fmla="*/ 47 w 84"/>
                  <a:gd name="T43" fmla="*/ 20 h 100"/>
                  <a:gd name="T44" fmla="*/ 27 w 84"/>
                  <a:gd name="T45" fmla="*/ 0 h 100"/>
                  <a:gd name="T46" fmla="*/ 28 w 84"/>
                  <a:gd name="T47" fmla="*/ 55 h 100"/>
                  <a:gd name="T48" fmla="*/ 16 w 84"/>
                  <a:gd name="T49" fmla="*/ 76 h 100"/>
                  <a:gd name="T50" fmla="*/ 6 w 84"/>
                  <a:gd name="T51" fmla="*/ 76 h 100"/>
                  <a:gd name="T52" fmla="*/ 0 w 84"/>
                  <a:gd name="T53" fmla="*/ 82 h 100"/>
                  <a:gd name="T54" fmla="*/ 0 w 84"/>
                  <a:gd name="T55" fmla="*/ 94 h 100"/>
                  <a:gd name="T56" fmla="*/ 6 w 84"/>
                  <a:gd name="T57" fmla="*/ 100 h 100"/>
                  <a:gd name="T58" fmla="*/ 61 w 84"/>
                  <a:gd name="T59" fmla="*/ 100 h 100"/>
                  <a:gd name="T60" fmla="*/ 67 w 84"/>
                  <a:gd name="T61" fmla="*/ 94 h 100"/>
                  <a:gd name="T62" fmla="*/ 67 w 84"/>
                  <a:gd name="T63" fmla="*/ 82 h 100"/>
                  <a:gd name="T64" fmla="*/ 61 w 84"/>
                  <a:gd name="T65" fmla="*/ 77 h 100"/>
                  <a:gd name="T66" fmla="*/ 51 w 84"/>
                  <a:gd name="T67" fmla="*/ 77 h 100"/>
                  <a:gd name="T68" fmla="*/ 45 w 84"/>
                  <a:gd name="T69" fmla="*/ 66 h 100"/>
                  <a:gd name="T70" fmla="*/ 84 w 84"/>
                  <a:gd name="T71" fmla="*/ 5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0">
                    <a:moveTo>
                      <a:pt x="45" y="77"/>
                    </a:moveTo>
                    <a:cubicBezTo>
                      <a:pt x="22" y="77"/>
                      <a:pt x="22" y="77"/>
                      <a:pt x="22" y="77"/>
                    </a:cubicBezTo>
                    <a:cubicBezTo>
                      <a:pt x="32" y="59"/>
                      <a:pt x="32" y="59"/>
                      <a:pt x="32" y="59"/>
                    </a:cubicBezTo>
                    <a:cubicBezTo>
                      <a:pt x="34" y="60"/>
                      <a:pt x="35" y="61"/>
                      <a:pt x="37" y="62"/>
                    </a:cubicBezTo>
                    <a:lnTo>
                      <a:pt x="45" y="77"/>
                    </a:lnTo>
                    <a:close/>
                    <a:moveTo>
                      <a:pt x="64" y="19"/>
                    </a:moveTo>
                    <a:cubicBezTo>
                      <a:pt x="65" y="19"/>
                      <a:pt x="65" y="19"/>
                      <a:pt x="66" y="20"/>
                    </a:cubicBezTo>
                    <a:cubicBezTo>
                      <a:pt x="60" y="32"/>
                      <a:pt x="60" y="32"/>
                      <a:pt x="60" y="32"/>
                    </a:cubicBezTo>
                    <a:cubicBezTo>
                      <a:pt x="52" y="24"/>
                      <a:pt x="52" y="24"/>
                      <a:pt x="52" y="24"/>
                    </a:cubicBezTo>
                    <a:lnTo>
                      <a:pt x="64" y="19"/>
                    </a:lnTo>
                    <a:close/>
                    <a:moveTo>
                      <a:pt x="72" y="6"/>
                    </a:moveTo>
                    <a:cubicBezTo>
                      <a:pt x="75" y="6"/>
                      <a:pt x="78" y="9"/>
                      <a:pt x="78" y="11"/>
                    </a:cubicBezTo>
                    <a:cubicBezTo>
                      <a:pt x="78" y="14"/>
                      <a:pt x="75" y="17"/>
                      <a:pt x="72" y="17"/>
                    </a:cubicBezTo>
                    <a:cubicBezTo>
                      <a:pt x="70" y="17"/>
                      <a:pt x="67" y="14"/>
                      <a:pt x="67" y="11"/>
                    </a:cubicBezTo>
                    <a:cubicBezTo>
                      <a:pt x="67" y="9"/>
                      <a:pt x="70" y="6"/>
                      <a:pt x="72" y="6"/>
                    </a:cubicBezTo>
                    <a:moveTo>
                      <a:pt x="84" y="56"/>
                    </a:moveTo>
                    <a:cubicBezTo>
                      <a:pt x="64" y="37"/>
                      <a:pt x="64" y="37"/>
                      <a:pt x="64" y="37"/>
                    </a:cubicBezTo>
                    <a:cubicBezTo>
                      <a:pt x="71" y="22"/>
                      <a:pt x="71" y="22"/>
                      <a:pt x="71" y="22"/>
                    </a:cubicBezTo>
                    <a:cubicBezTo>
                      <a:pt x="77" y="23"/>
                      <a:pt x="83" y="18"/>
                      <a:pt x="83" y="11"/>
                    </a:cubicBezTo>
                    <a:cubicBezTo>
                      <a:pt x="83" y="5"/>
                      <a:pt x="79" y="0"/>
                      <a:pt x="73" y="0"/>
                    </a:cubicBezTo>
                    <a:cubicBezTo>
                      <a:pt x="66" y="0"/>
                      <a:pt x="61" y="7"/>
                      <a:pt x="62" y="13"/>
                    </a:cubicBezTo>
                    <a:cubicBezTo>
                      <a:pt x="47" y="20"/>
                      <a:pt x="47" y="20"/>
                      <a:pt x="47" y="20"/>
                    </a:cubicBezTo>
                    <a:cubicBezTo>
                      <a:pt x="27" y="0"/>
                      <a:pt x="27" y="0"/>
                      <a:pt x="27" y="0"/>
                    </a:cubicBezTo>
                    <a:cubicBezTo>
                      <a:pt x="13" y="16"/>
                      <a:pt x="13" y="40"/>
                      <a:pt x="28" y="55"/>
                    </a:cubicBezTo>
                    <a:cubicBezTo>
                      <a:pt x="16" y="76"/>
                      <a:pt x="16" y="76"/>
                      <a:pt x="16" y="76"/>
                    </a:cubicBezTo>
                    <a:cubicBezTo>
                      <a:pt x="6" y="76"/>
                      <a:pt x="6" y="76"/>
                      <a:pt x="6" y="76"/>
                    </a:cubicBezTo>
                    <a:cubicBezTo>
                      <a:pt x="3" y="76"/>
                      <a:pt x="0" y="79"/>
                      <a:pt x="0" y="82"/>
                    </a:cubicBezTo>
                    <a:cubicBezTo>
                      <a:pt x="0" y="94"/>
                      <a:pt x="0" y="94"/>
                      <a:pt x="0" y="94"/>
                    </a:cubicBezTo>
                    <a:cubicBezTo>
                      <a:pt x="0" y="97"/>
                      <a:pt x="3" y="100"/>
                      <a:pt x="6" y="100"/>
                    </a:cubicBezTo>
                    <a:cubicBezTo>
                      <a:pt x="61" y="100"/>
                      <a:pt x="61" y="100"/>
                      <a:pt x="61" y="100"/>
                    </a:cubicBezTo>
                    <a:cubicBezTo>
                      <a:pt x="64" y="100"/>
                      <a:pt x="67" y="97"/>
                      <a:pt x="67" y="94"/>
                    </a:cubicBezTo>
                    <a:cubicBezTo>
                      <a:pt x="67" y="82"/>
                      <a:pt x="67" y="82"/>
                      <a:pt x="67" y="82"/>
                    </a:cubicBezTo>
                    <a:cubicBezTo>
                      <a:pt x="67" y="79"/>
                      <a:pt x="64" y="77"/>
                      <a:pt x="61" y="77"/>
                    </a:cubicBezTo>
                    <a:cubicBezTo>
                      <a:pt x="51" y="77"/>
                      <a:pt x="51" y="77"/>
                      <a:pt x="51" y="77"/>
                    </a:cubicBezTo>
                    <a:cubicBezTo>
                      <a:pt x="45" y="66"/>
                      <a:pt x="45" y="66"/>
                      <a:pt x="45" y="66"/>
                    </a:cubicBezTo>
                    <a:cubicBezTo>
                      <a:pt x="58" y="70"/>
                      <a:pt x="73" y="67"/>
                      <a:pt x="84" y="56"/>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1" name="Freeform 31">
                <a:extLst>
                  <a:ext uri="{FF2B5EF4-FFF2-40B4-BE49-F238E27FC236}">
                    <a16:creationId xmlns:a16="http://schemas.microsoft.com/office/drawing/2014/main" id="{7C1D5261-C17E-4939-B7E1-B36B14F8D06D}"/>
                  </a:ext>
                </a:extLst>
              </p:cNvPr>
              <p:cNvSpPr>
                <a:spLocks/>
              </p:cNvSpPr>
              <p:nvPr/>
            </p:nvSpPr>
            <p:spPr bwMode="auto">
              <a:xfrm>
                <a:off x="1284288" y="869950"/>
                <a:ext cx="176213" cy="173037"/>
              </a:xfrm>
              <a:custGeom>
                <a:avLst/>
                <a:gdLst>
                  <a:gd name="T0" fmla="*/ 2 w 47"/>
                  <a:gd name="T1" fmla="*/ 0 h 46"/>
                  <a:gd name="T2" fmla="*/ 0 w 47"/>
                  <a:gd name="T3" fmla="*/ 3 h 46"/>
                  <a:gd name="T4" fmla="*/ 2 w 47"/>
                  <a:gd name="T5" fmla="*/ 5 h 46"/>
                  <a:gd name="T6" fmla="*/ 41 w 47"/>
                  <a:gd name="T7" fmla="*/ 44 h 46"/>
                  <a:gd name="T8" fmla="*/ 44 w 47"/>
                  <a:gd name="T9" fmla="*/ 46 h 46"/>
                  <a:gd name="T10" fmla="*/ 46 w 47"/>
                  <a:gd name="T11" fmla="*/ 44 h 46"/>
                  <a:gd name="T12" fmla="*/ 2 w 47"/>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7" h="46">
                    <a:moveTo>
                      <a:pt x="2" y="0"/>
                    </a:moveTo>
                    <a:cubicBezTo>
                      <a:pt x="1" y="0"/>
                      <a:pt x="0" y="1"/>
                      <a:pt x="0" y="3"/>
                    </a:cubicBezTo>
                    <a:cubicBezTo>
                      <a:pt x="0" y="4"/>
                      <a:pt x="1" y="5"/>
                      <a:pt x="2" y="5"/>
                    </a:cubicBezTo>
                    <a:cubicBezTo>
                      <a:pt x="24" y="5"/>
                      <a:pt x="41" y="23"/>
                      <a:pt x="41" y="44"/>
                    </a:cubicBezTo>
                    <a:cubicBezTo>
                      <a:pt x="41" y="45"/>
                      <a:pt x="42" y="46"/>
                      <a:pt x="44" y="46"/>
                    </a:cubicBezTo>
                    <a:cubicBezTo>
                      <a:pt x="45" y="46"/>
                      <a:pt x="46" y="45"/>
                      <a:pt x="46" y="44"/>
                    </a:cubicBezTo>
                    <a:cubicBezTo>
                      <a:pt x="47" y="19"/>
                      <a:pt x="27"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2" name="Freeform 32">
                <a:extLst>
                  <a:ext uri="{FF2B5EF4-FFF2-40B4-BE49-F238E27FC236}">
                    <a16:creationId xmlns:a16="http://schemas.microsoft.com/office/drawing/2014/main" id="{DE44F1D2-D2C3-4027-BB9A-01686D333F5B}"/>
                  </a:ext>
                </a:extLst>
              </p:cNvPr>
              <p:cNvSpPr>
                <a:spLocks/>
              </p:cNvSpPr>
              <p:nvPr/>
            </p:nvSpPr>
            <p:spPr bwMode="auto">
              <a:xfrm>
                <a:off x="1284288" y="911225"/>
                <a:ext cx="134938" cy="131762"/>
              </a:xfrm>
              <a:custGeom>
                <a:avLst/>
                <a:gdLst>
                  <a:gd name="T0" fmla="*/ 2 w 36"/>
                  <a:gd name="T1" fmla="*/ 0 h 35"/>
                  <a:gd name="T2" fmla="*/ 0 w 36"/>
                  <a:gd name="T3" fmla="*/ 2 h 35"/>
                  <a:gd name="T4" fmla="*/ 2 w 36"/>
                  <a:gd name="T5" fmla="*/ 5 h 35"/>
                  <a:gd name="T6" fmla="*/ 30 w 36"/>
                  <a:gd name="T7" fmla="*/ 33 h 35"/>
                  <a:gd name="T8" fmla="*/ 33 w 36"/>
                  <a:gd name="T9" fmla="*/ 35 h 35"/>
                  <a:gd name="T10" fmla="*/ 35 w 36"/>
                  <a:gd name="T11" fmla="*/ 33 h 35"/>
                  <a:gd name="T12" fmla="*/ 2 w 36"/>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36" h="35">
                    <a:moveTo>
                      <a:pt x="2" y="0"/>
                    </a:moveTo>
                    <a:cubicBezTo>
                      <a:pt x="1" y="0"/>
                      <a:pt x="0" y="1"/>
                      <a:pt x="0" y="2"/>
                    </a:cubicBezTo>
                    <a:cubicBezTo>
                      <a:pt x="0" y="4"/>
                      <a:pt x="1" y="5"/>
                      <a:pt x="2" y="5"/>
                    </a:cubicBezTo>
                    <a:cubicBezTo>
                      <a:pt x="18" y="5"/>
                      <a:pt x="30" y="18"/>
                      <a:pt x="30" y="33"/>
                    </a:cubicBezTo>
                    <a:cubicBezTo>
                      <a:pt x="30" y="34"/>
                      <a:pt x="31" y="35"/>
                      <a:pt x="33" y="35"/>
                    </a:cubicBezTo>
                    <a:cubicBezTo>
                      <a:pt x="34" y="35"/>
                      <a:pt x="35" y="34"/>
                      <a:pt x="35" y="33"/>
                    </a:cubicBezTo>
                    <a:cubicBezTo>
                      <a:pt x="36" y="15"/>
                      <a:pt x="21"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3" name="Freeform 33">
                <a:extLst>
                  <a:ext uri="{FF2B5EF4-FFF2-40B4-BE49-F238E27FC236}">
                    <a16:creationId xmlns:a16="http://schemas.microsoft.com/office/drawing/2014/main" id="{67A749BD-739E-4B3B-B378-9A70F51D2B4E}"/>
                  </a:ext>
                </a:extLst>
              </p:cNvPr>
              <p:cNvSpPr>
                <a:spLocks/>
              </p:cNvSpPr>
              <p:nvPr/>
            </p:nvSpPr>
            <p:spPr bwMode="auto">
              <a:xfrm>
                <a:off x="1284288" y="954088"/>
                <a:ext cx="93663" cy="88900"/>
              </a:xfrm>
              <a:custGeom>
                <a:avLst/>
                <a:gdLst>
                  <a:gd name="T0" fmla="*/ 2 w 25"/>
                  <a:gd name="T1" fmla="*/ 0 h 24"/>
                  <a:gd name="T2" fmla="*/ 0 w 25"/>
                  <a:gd name="T3" fmla="*/ 2 h 24"/>
                  <a:gd name="T4" fmla="*/ 2 w 25"/>
                  <a:gd name="T5" fmla="*/ 5 h 24"/>
                  <a:gd name="T6" fmla="*/ 19 w 25"/>
                  <a:gd name="T7" fmla="*/ 22 h 24"/>
                  <a:gd name="T8" fmla="*/ 22 w 25"/>
                  <a:gd name="T9" fmla="*/ 24 h 24"/>
                  <a:gd name="T10" fmla="*/ 24 w 25"/>
                  <a:gd name="T11" fmla="*/ 22 h 24"/>
                  <a:gd name="T12" fmla="*/ 2 w 25"/>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2" y="0"/>
                    </a:moveTo>
                    <a:cubicBezTo>
                      <a:pt x="1" y="0"/>
                      <a:pt x="0" y="1"/>
                      <a:pt x="0" y="2"/>
                    </a:cubicBezTo>
                    <a:cubicBezTo>
                      <a:pt x="0" y="4"/>
                      <a:pt x="1" y="5"/>
                      <a:pt x="2" y="5"/>
                    </a:cubicBezTo>
                    <a:cubicBezTo>
                      <a:pt x="12" y="5"/>
                      <a:pt x="19" y="13"/>
                      <a:pt x="19" y="22"/>
                    </a:cubicBezTo>
                    <a:cubicBezTo>
                      <a:pt x="19" y="23"/>
                      <a:pt x="20" y="24"/>
                      <a:pt x="22" y="24"/>
                    </a:cubicBezTo>
                    <a:cubicBezTo>
                      <a:pt x="23" y="24"/>
                      <a:pt x="24" y="23"/>
                      <a:pt x="24" y="22"/>
                    </a:cubicBezTo>
                    <a:cubicBezTo>
                      <a:pt x="25" y="10"/>
                      <a:pt x="15"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5" name="Group 4">
            <a:extLst>
              <a:ext uri="{FF2B5EF4-FFF2-40B4-BE49-F238E27FC236}">
                <a16:creationId xmlns:a16="http://schemas.microsoft.com/office/drawing/2014/main" id="{71FD4600-DC97-48FD-AC6B-F5947F538131}"/>
              </a:ext>
            </a:extLst>
          </p:cNvPr>
          <p:cNvGrpSpPr/>
          <p:nvPr/>
        </p:nvGrpSpPr>
        <p:grpSpPr>
          <a:xfrm>
            <a:off x="5693970" y="1674976"/>
            <a:ext cx="894610" cy="841552"/>
            <a:chOff x="5693970" y="1990602"/>
            <a:chExt cx="894610" cy="841552"/>
          </a:xfrm>
          <a:solidFill>
            <a:srgbClr val="12ABDB"/>
          </a:solidFill>
        </p:grpSpPr>
        <p:sp>
          <p:nvSpPr>
            <p:cNvPr id="55" name="Freeform 55">
              <a:extLst>
                <a:ext uri="{FF2B5EF4-FFF2-40B4-BE49-F238E27FC236}">
                  <a16:creationId xmlns:a16="http://schemas.microsoft.com/office/drawing/2014/main" id="{F2D03B96-8F15-4A08-80C5-25E572BEA1D9}"/>
                </a:ext>
              </a:extLst>
            </p:cNvPr>
            <p:cNvSpPr>
              <a:spLocks/>
            </p:cNvSpPr>
            <p:nvPr/>
          </p:nvSpPr>
          <p:spPr bwMode="auto">
            <a:xfrm>
              <a:off x="5693970" y="1990602"/>
              <a:ext cx="894610" cy="84155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29" y="208"/>
                    <a:pt x="15" y="147"/>
                  </a:cubicBezTo>
                </a:path>
              </a:pathLst>
            </a:custGeom>
            <a:grpFill/>
            <a:ln w="381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grpSp>
          <p:nvGrpSpPr>
            <p:cNvPr id="56" name="Groupe 660">
              <a:extLst>
                <a:ext uri="{FF2B5EF4-FFF2-40B4-BE49-F238E27FC236}">
                  <a16:creationId xmlns:a16="http://schemas.microsoft.com/office/drawing/2014/main" id="{0F2B1D28-43A8-4AF3-A30D-AC8E1CF44F8B}"/>
                </a:ext>
              </a:extLst>
            </p:cNvPr>
            <p:cNvGrpSpPr/>
            <p:nvPr/>
          </p:nvGrpSpPr>
          <p:grpSpPr>
            <a:xfrm>
              <a:off x="5885567" y="2186587"/>
              <a:ext cx="536472" cy="467202"/>
              <a:chOff x="5819775" y="882650"/>
              <a:chExt cx="577851" cy="503238"/>
            </a:xfrm>
            <a:grpFill/>
          </p:grpSpPr>
          <p:sp>
            <p:nvSpPr>
              <p:cNvPr id="57" name="Freeform 56">
                <a:extLst>
                  <a:ext uri="{FF2B5EF4-FFF2-40B4-BE49-F238E27FC236}">
                    <a16:creationId xmlns:a16="http://schemas.microsoft.com/office/drawing/2014/main" id="{33F247FB-6F6A-4D84-B501-1D152BB7ECD0}"/>
                  </a:ext>
                </a:extLst>
              </p:cNvPr>
              <p:cNvSpPr>
                <a:spLocks noEditPoints="1"/>
              </p:cNvSpPr>
              <p:nvPr/>
            </p:nvSpPr>
            <p:spPr bwMode="auto">
              <a:xfrm>
                <a:off x="5819775" y="882650"/>
                <a:ext cx="396875" cy="420687"/>
              </a:xfrm>
              <a:custGeom>
                <a:avLst/>
                <a:gdLst>
                  <a:gd name="T0" fmla="*/ 48 w 106"/>
                  <a:gd name="T1" fmla="*/ 46 h 112"/>
                  <a:gd name="T2" fmla="*/ 56 w 106"/>
                  <a:gd name="T3" fmla="*/ 35 h 112"/>
                  <a:gd name="T4" fmla="*/ 67 w 106"/>
                  <a:gd name="T5" fmla="*/ 39 h 112"/>
                  <a:gd name="T6" fmla="*/ 48 w 106"/>
                  <a:gd name="T7" fmla="*/ 46 h 112"/>
                  <a:gd name="T8" fmla="*/ 50 w 106"/>
                  <a:gd name="T9" fmla="*/ 87 h 112"/>
                  <a:gd name="T10" fmla="*/ 27 w 106"/>
                  <a:gd name="T11" fmla="*/ 74 h 112"/>
                  <a:gd name="T12" fmla="*/ 66 w 106"/>
                  <a:gd name="T13" fmla="*/ 67 h 112"/>
                  <a:gd name="T14" fmla="*/ 50 w 106"/>
                  <a:gd name="T15" fmla="*/ 87 h 112"/>
                  <a:gd name="T16" fmla="*/ 17 w 106"/>
                  <a:gd name="T17" fmla="*/ 50 h 112"/>
                  <a:gd name="T18" fmla="*/ 24 w 106"/>
                  <a:gd name="T19" fmla="*/ 42 h 112"/>
                  <a:gd name="T20" fmla="*/ 36 w 106"/>
                  <a:gd name="T21" fmla="*/ 47 h 112"/>
                  <a:gd name="T22" fmla="*/ 17 w 106"/>
                  <a:gd name="T23" fmla="*/ 50 h 112"/>
                  <a:gd name="T24" fmla="*/ 71 w 106"/>
                  <a:gd name="T25" fmla="*/ 5 h 112"/>
                  <a:gd name="T26" fmla="*/ 58 w 106"/>
                  <a:gd name="T27" fmla="*/ 9 h 112"/>
                  <a:gd name="T28" fmla="*/ 10 w 106"/>
                  <a:gd name="T29" fmla="*/ 16 h 112"/>
                  <a:gd name="T30" fmla="*/ 0 w 106"/>
                  <a:gd name="T31" fmla="*/ 20 h 112"/>
                  <a:gd name="T32" fmla="*/ 53 w 106"/>
                  <a:gd name="T33" fmla="*/ 104 h 112"/>
                  <a:gd name="T34" fmla="*/ 71 w 106"/>
                  <a:gd name="T3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12">
                    <a:moveTo>
                      <a:pt x="48" y="46"/>
                    </a:moveTo>
                    <a:cubicBezTo>
                      <a:pt x="48" y="46"/>
                      <a:pt x="47" y="37"/>
                      <a:pt x="56" y="35"/>
                    </a:cubicBezTo>
                    <a:cubicBezTo>
                      <a:pt x="56" y="35"/>
                      <a:pt x="62" y="33"/>
                      <a:pt x="67" y="39"/>
                    </a:cubicBezTo>
                    <a:cubicBezTo>
                      <a:pt x="67" y="39"/>
                      <a:pt x="57" y="54"/>
                      <a:pt x="48" y="46"/>
                    </a:cubicBezTo>
                    <a:moveTo>
                      <a:pt x="50" y="87"/>
                    </a:moveTo>
                    <a:cubicBezTo>
                      <a:pt x="36" y="90"/>
                      <a:pt x="27" y="74"/>
                      <a:pt x="27" y="74"/>
                    </a:cubicBezTo>
                    <a:cubicBezTo>
                      <a:pt x="51" y="85"/>
                      <a:pt x="66" y="67"/>
                      <a:pt x="66" y="67"/>
                    </a:cubicBezTo>
                    <a:cubicBezTo>
                      <a:pt x="66" y="67"/>
                      <a:pt x="64" y="83"/>
                      <a:pt x="50" y="87"/>
                    </a:cubicBezTo>
                    <a:moveTo>
                      <a:pt x="17" y="50"/>
                    </a:moveTo>
                    <a:cubicBezTo>
                      <a:pt x="18" y="43"/>
                      <a:pt x="24" y="42"/>
                      <a:pt x="24" y="42"/>
                    </a:cubicBezTo>
                    <a:cubicBezTo>
                      <a:pt x="33" y="39"/>
                      <a:pt x="36" y="47"/>
                      <a:pt x="36" y="47"/>
                    </a:cubicBezTo>
                    <a:cubicBezTo>
                      <a:pt x="32" y="58"/>
                      <a:pt x="17" y="50"/>
                      <a:pt x="17" y="50"/>
                    </a:cubicBezTo>
                    <a:moveTo>
                      <a:pt x="71" y="5"/>
                    </a:moveTo>
                    <a:cubicBezTo>
                      <a:pt x="69" y="0"/>
                      <a:pt x="63" y="3"/>
                      <a:pt x="58" y="9"/>
                    </a:cubicBezTo>
                    <a:cubicBezTo>
                      <a:pt x="49" y="19"/>
                      <a:pt x="21" y="21"/>
                      <a:pt x="10" y="16"/>
                    </a:cubicBezTo>
                    <a:cubicBezTo>
                      <a:pt x="0" y="11"/>
                      <a:pt x="0" y="20"/>
                      <a:pt x="0" y="20"/>
                    </a:cubicBezTo>
                    <a:cubicBezTo>
                      <a:pt x="0" y="112"/>
                      <a:pt x="53" y="104"/>
                      <a:pt x="53" y="104"/>
                    </a:cubicBezTo>
                    <a:cubicBezTo>
                      <a:pt x="106" y="86"/>
                      <a:pt x="71" y="5"/>
                      <a:pt x="71" y="5"/>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58" name="Freeform 57">
                <a:extLst>
                  <a:ext uri="{FF2B5EF4-FFF2-40B4-BE49-F238E27FC236}">
                    <a16:creationId xmlns:a16="http://schemas.microsoft.com/office/drawing/2014/main" id="{EEEC625A-FA89-4F95-806F-DE2FB8C0558A}"/>
                  </a:ext>
                </a:extLst>
              </p:cNvPr>
              <p:cNvSpPr>
                <a:spLocks/>
              </p:cNvSpPr>
              <p:nvPr/>
            </p:nvSpPr>
            <p:spPr bwMode="auto">
              <a:xfrm>
                <a:off x="6075363" y="998538"/>
                <a:ext cx="322263" cy="387350"/>
              </a:xfrm>
              <a:custGeom>
                <a:avLst/>
                <a:gdLst>
                  <a:gd name="T0" fmla="*/ 14 w 86"/>
                  <a:gd name="T1" fmla="*/ 96 h 103"/>
                  <a:gd name="T2" fmla="*/ 27 w 86"/>
                  <a:gd name="T3" fmla="*/ 102 h 103"/>
                  <a:gd name="T4" fmla="*/ 40 w 86"/>
                  <a:gd name="T5" fmla="*/ 102 h 103"/>
                  <a:gd name="T6" fmla="*/ 73 w 86"/>
                  <a:gd name="T7" fmla="*/ 73 h 103"/>
                  <a:gd name="T8" fmla="*/ 85 w 86"/>
                  <a:gd name="T9" fmla="*/ 23 h 103"/>
                  <a:gd name="T10" fmla="*/ 69 w 86"/>
                  <a:gd name="T11" fmla="*/ 10 h 103"/>
                  <a:gd name="T12" fmla="*/ 67 w 86"/>
                  <a:gd name="T13" fmla="*/ 11 h 103"/>
                  <a:gd name="T14" fmla="*/ 65 w 86"/>
                  <a:gd name="T15" fmla="*/ 12 h 103"/>
                  <a:gd name="T16" fmla="*/ 63 w 86"/>
                  <a:gd name="T17" fmla="*/ 12 h 103"/>
                  <a:gd name="T18" fmla="*/ 61 w 86"/>
                  <a:gd name="T19" fmla="*/ 12 h 103"/>
                  <a:gd name="T20" fmla="*/ 53 w 86"/>
                  <a:gd name="T21" fmla="*/ 12 h 103"/>
                  <a:gd name="T22" fmla="*/ 52 w 86"/>
                  <a:gd name="T23" fmla="*/ 12 h 103"/>
                  <a:gd name="T24" fmla="*/ 40 w 86"/>
                  <a:gd name="T25" fmla="*/ 9 h 103"/>
                  <a:gd name="T26" fmla="*/ 37 w 86"/>
                  <a:gd name="T27" fmla="*/ 8 h 103"/>
                  <a:gd name="T28" fmla="*/ 36 w 86"/>
                  <a:gd name="T29" fmla="*/ 8 h 103"/>
                  <a:gd name="T30" fmla="*/ 28 w 86"/>
                  <a:gd name="T31" fmla="*/ 4 h 103"/>
                  <a:gd name="T32" fmla="*/ 28 w 86"/>
                  <a:gd name="T33" fmla="*/ 3 h 103"/>
                  <a:gd name="T34" fmla="*/ 26 w 86"/>
                  <a:gd name="T35" fmla="*/ 2 h 103"/>
                  <a:gd name="T36" fmla="*/ 21 w 86"/>
                  <a:gd name="T37" fmla="*/ 7 h 103"/>
                  <a:gd name="T38" fmla="*/ 39 w 86"/>
                  <a:gd name="T39" fmla="*/ 16 h 103"/>
                  <a:gd name="T40" fmla="*/ 67 w 86"/>
                  <a:gd name="T41" fmla="*/ 18 h 103"/>
                  <a:gd name="T42" fmla="*/ 70 w 86"/>
                  <a:gd name="T43" fmla="*/ 17 h 103"/>
                  <a:gd name="T44" fmla="*/ 72 w 86"/>
                  <a:gd name="T45" fmla="*/ 17 h 103"/>
                  <a:gd name="T46" fmla="*/ 75 w 86"/>
                  <a:gd name="T47" fmla="*/ 16 h 103"/>
                  <a:gd name="T48" fmla="*/ 76 w 86"/>
                  <a:gd name="T49" fmla="*/ 16 h 103"/>
                  <a:gd name="T50" fmla="*/ 77 w 86"/>
                  <a:gd name="T51" fmla="*/ 16 h 103"/>
                  <a:gd name="T52" fmla="*/ 77 w 86"/>
                  <a:gd name="T53" fmla="*/ 16 h 103"/>
                  <a:gd name="T54" fmla="*/ 77 w 86"/>
                  <a:gd name="T55" fmla="*/ 16 h 103"/>
                  <a:gd name="T56" fmla="*/ 78 w 86"/>
                  <a:gd name="T57" fmla="*/ 16 h 103"/>
                  <a:gd name="T58" fmla="*/ 78 w 86"/>
                  <a:gd name="T59" fmla="*/ 18 h 103"/>
                  <a:gd name="T60" fmla="*/ 78 w 86"/>
                  <a:gd name="T61" fmla="*/ 19 h 103"/>
                  <a:gd name="T62" fmla="*/ 77 w 86"/>
                  <a:gd name="T63" fmla="*/ 33 h 103"/>
                  <a:gd name="T64" fmla="*/ 77 w 86"/>
                  <a:gd name="T65" fmla="*/ 34 h 103"/>
                  <a:gd name="T66" fmla="*/ 76 w 86"/>
                  <a:gd name="T67" fmla="*/ 39 h 103"/>
                  <a:gd name="T68" fmla="*/ 71 w 86"/>
                  <a:gd name="T69" fmla="*/ 59 h 103"/>
                  <a:gd name="T70" fmla="*/ 68 w 86"/>
                  <a:gd name="T71" fmla="*/ 66 h 103"/>
                  <a:gd name="T72" fmla="*/ 68 w 86"/>
                  <a:gd name="T73" fmla="*/ 67 h 103"/>
                  <a:gd name="T74" fmla="*/ 66 w 86"/>
                  <a:gd name="T75" fmla="*/ 72 h 103"/>
                  <a:gd name="T76" fmla="*/ 60 w 86"/>
                  <a:gd name="T77" fmla="*/ 81 h 103"/>
                  <a:gd name="T78" fmla="*/ 60 w 86"/>
                  <a:gd name="T79" fmla="*/ 81 h 103"/>
                  <a:gd name="T80" fmla="*/ 58 w 86"/>
                  <a:gd name="T81" fmla="*/ 83 h 103"/>
                  <a:gd name="T82" fmla="*/ 52 w 86"/>
                  <a:gd name="T83" fmla="*/ 88 h 103"/>
                  <a:gd name="T84" fmla="*/ 52 w 86"/>
                  <a:gd name="T85" fmla="*/ 88 h 103"/>
                  <a:gd name="T86" fmla="*/ 48 w 86"/>
                  <a:gd name="T87" fmla="*/ 91 h 103"/>
                  <a:gd name="T88" fmla="*/ 44 w 86"/>
                  <a:gd name="T89" fmla="*/ 93 h 103"/>
                  <a:gd name="T90" fmla="*/ 42 w 86"/>
                  <a:gd name="T91" fmla="*/ 94 h 103"/>
                  <a:gd name="T92" fmla="*/ 36 w 86"/>
                  <a:gd name="T93" fmla="*/ 95 h 103"/>
                  <a:gd name="T94" fmla="*/ 36 w 86"/>
                  <a:gd name="T95" fmla="*/ 95 h 103"/>
                  <a:gd name="T96" fmla="*/ 31 w 86"/>
                  <a:gd name="T97" fmla="*/ 96 h 103"/>
                  <a:gd name="T98" fmla="*/ 28 w 86"/>
                  <a:gd name="T99" fmla="*/ 95 h 103"/>
                  <a:gd name="T100" fmla="*/ 28 w 86"/>
                  <a:gd name="T101" fmla="*/ 96 h 103"/>
                  <a:gd name="T102" fmla="*/ 26 w 86"/>
                  <a:gd name="T103" fmla="*/ 95 h 103"/>
                  <a:gd name="T104" fmla="*/ 26 w 86"/>
                  <a:gd name="T105" fmla="*/ 95 h 103"/>
                  <a:gd name="T106" fmla="*/ 19 w 86"/>
                  <a:gd name="T107" fmla="*/ 91 h 103"/>
                  <a:gd name="T108" fmla="*/ 19 w 86"/>
                  <a:gd name="T109" fmla="*/ 90 h 103"/>
                  <a:gd name="T110" fmla="*/ 14 w 86"/>
                  <a:gd name="T111" fmla="*/ 86 h 103"/>
                  <a:gd name="T112" fmla="*/ 12 w 86"/>
                  <a:gd name="T113" fmla="*/ 84 h 103"/>
                  <a:gd name="T114" fmla="*/ 11 w 86"/>
                  <a:gd name="T115" fmla="*/ 81 h 103"/>
                  <a:gd name="T116" fmla="*/ 8 w 86"/>
                  <a:gd name="T117" fmla="*/ 76 h 103"/>
                  <a:gd name="T118" fmla="*/ 7 w 86"/>
                  <a:gd name="T119" fmla="*/ 75 h 103"/>
                  <a:gd name="T120" fmla="*/ 0 w 86"/>
                  <a:gd name="T121"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103">
                    <a:moveTo>
                      <a:pt x="0" y="77"/>
                    </a:moveTo>
                    <a:cubicBezTo>
                      <a:pt x="3" y="84"/>
                      <a:pt x="8" y="91"/>
                      <a:pt x="14" y="96"/>
                    </a:cubicBezTo>
                    <a:cubicBezTo>
                      <a:pt x="17" y="98"/>
                      <a:pt x="21" y="101"/>
                      <a:pt x="25" y="102"/>
                    </a:cubicBezTo>
                    <a:cubicBezTo>
                      <a:pt x="26" y="102"/>
                      <a:pt x="26" y="102"/>
                      <a:pt x="27" y="102"/>
                    </a:cubicBezTo>
                    <a:cubicBezTo>
                      <a:pt x="28" y="103"/>
                      <a:pt x="30" y="103"/>
                      <a:pt x="31" y="103"/>
                    </a:cubicBezTo>
                    <a:cubicBezTo>
                      <a:pt x="34" y="103"/>
                      <a:pt x="37" y="102"/>
                      <a:pt x="40" y="102"/>
                    </a:cubicBezTo>
                    <a:cubicBezTo>
                      <a:pt x="45" y="101"/>
                      <a:pt x="50" y="99"/>
                      <a:pt x="54" y="96"/>
                    </a:cubicBezTo>
                    <a:cubicBezTo>
                      <a:pt x="63" y="90"/>
                      <a:pt x="69" y="82"/>
                      <a:pt x="73" y="73"/>
                    </a:cubicBezTo>
                    <a:cubicBezTo>
                      <a:pt x="77" y="64"/>
                      <a:pt x="80" y="54"/>
                      <a:pt x="82" y="45"/>
                    </a:cubicBezTo>
                    <a:cubicBezTo>
                      <a:pt x="83" y="38"/>
                      <a:pt x="84" y="31"/>
                      <a:pt x="85" y="23"/>
                    </a:cubicBezTo>
                    <a:cubicBezTo>
                      <a:pt x="85" y="19"/>
                      <a:pt x="86" y="12"/>
                      <a:pt x="81" y="10"/>
                    </a:cubicBezTo>
                    <a:cubicBezTo>
                      <a:pt x="77" y="8"/>
                      <a:pt x="73" y="9"/>
                      <a:pt x="69" y="10"/>
                    </a:cubicBezTo>
                    <a:cubicBezTo>
                      <a:pt x="69" y="10"/>
                      <a:pt x="68" y="11"/>
                      <a:pt x="67" y="11"/>
                    </a:cubicBezTo>
                    <a:cubicBezTo>
                      <a:pt x="66" y="11"/>
                      <a:pt x="68" y="11"/>
                      <a:pt x="67" y="11"/>
                    </a:cubicBezTo>
                    <a:cubicBezTo>
                      <a:pt x="67" y="11"/>
                      <a:pt x="67" y="11"/>
                      <a:pt x="67" y="11"/>
                    </a:cubicBezTo>
                    <a:cubicBezTo>
                      <a:pt x="66" y="11"/>
                      <a:pt x="65" y="12"/>
                      <a:pt x="65" y="12"/>
                    </a:cubicBezTo>
                    <a:cubicBezTo>
                      <a:pt x="64" y="12"/>
                      <a:pt x="63" y="12"/>
                      <a:pt x="62" y="12"/>
                    </a:cubicBezTo>
                    <a:cubicBezTo>
                      <a:pt x="62" y="12"/>
                      <a:pt x="61" y="12"/>
                      <a:pt x="63" y="12"/>
                    </a:cubicBezTo>
                    <a:cubicBezTo>
                      <a:pt x="62" y="12"/>
                      <a:pt x="62" y="12"/>
                      <a:pt x="62" y="12"/>
                    </a:cubicBezTo>
                    <a:cubicBezTo>
                      <a:pt x="62" y="12"/>
                      <a:pt x="61" y="12"/>
                      <a:pt x="61" y="12"/>
                    </a:cubicBezTo>
                    <a:cubicBezTo>
                      <a:pt x="59" y="13"/>
                      <a:pt x="57" y="12"/>
                      <a:pt x="55" y="12"/>
                    </a:cubicBezTo>
                    <a:cubicBezTo>
                      <a:pt x="55" y="12"/>
                      <a:pt x="54" y="12"/>
                      <a:pt x="53" y="12"/>
                    </a:cubicBezTo>
                    <a:cubicBezTo>
                      <a:pt x="52" y="12"/>
                      <a:pt x="52" y="12"/>
                      <a:pt x="51" y="12"/>
                    </a:cubicBezTo>
                    <a:cubicBezTo>
                      <a:pt x="51" y="12"/>
                      <a:pt x="52" y="12"/>
                      <a:pt x="52" y="12"/>
                    </a:cubicBezTo>
                    <a:cubicBezTo>
                      <a:pt x="51" y="12"/>
                      <a:pt x="51" y="12"/>
                      <a:pt x="51" y="12"/>
                    </a:cubicBezTo>
                    <a:cubicBezTo>
                      <a:pt x="47" y="11"/>
                      <a:pt x="43" y="10"/>
                      <a:pt x="40" y="9"/>
                    </a:cubicBezTo>
                    <a:cubicBezTo>
                      <a:pt x="39" y="9"/>
                      <a:pt x="38" y="9"/>
                      <a:pt x="38" y="8"/>
                    </a:cubicBezTo>
                    <a:cubicBezTo>
                      <a:pt x="37" y="8"/>
                      <a:pt x="37" y="8"/>
                      <a:pt x="37" y="8"/>
                    </a:cubicBezTo>
                    <a:cubicBezTo>
                      <a:pt x="36" y="8"/>
                      <a:pt x="36" y="8"/>
                      <a:pt x="36" y="8"/>
                    </a:cubicBezTo>
                    <a:cubicBezTo>
                      <a:pt x="37" y="8"/>
                      <a:pt x="36" y="8"/>
                      <a:pt x="36" y="8"/>
                    </a:cubicBezTo>
                    <a:cubicBezTo>
                      <a:pt x="35" y="7"/>
                      <a:pt x="33" y="6"/>
                      <a:pt x="32" y="6"/>
                    </a:cubicBezTo>
                    <a:cubicBezTo>
                      <a:pt x="31" y="5"/>
                      <a:pt x="30" y="4"/>
                      <a:pt x="28" y="4"/>
                    </a:cubicBezTo>
                    <a:cubicBezTo>
                      <a:pt x="28" y="3"/>
                      <a:pt x="28" y="3"/>
                      <a:pt x="29" y="4"/>
                    </a:cubicBezTo>
                    <a:cubicBezTo>
                      <a:pt x="29" y="4"/>
                      <a:pt x="28" y="4"/>
                      <a:pt x="28" y="3"/>
                    </a:cubicBezTo>
                    <a:cubicBezTo>
                      <a:pt x="28" y="3"/>
                      <a:pt x="28" y="3"/>
                      <a:pt x="28" y="3"/>
                    </a:cubicBezTo>
                    <a:cubicBezTo>
                      <a:pt x="27" y="2"/>
                      <a:pt x="27" y="2"/>
                      <a:pt x="26" y="2"/>
                    </a:cubicBezTo>
                    <a:cubicBezTo>
                      <a:pt x="25" y="0"/>
                      <a:pt x="23" y="0"/>
                      <a:pt x="21" y="2"/>
                    </a:cubicBezTo>
                    <a:cubicBezTo>
                      <a:pt x="20" y="3"/>
                      <a:pt x="20" y="5"/>
                      <a:pt x="21" y="7"/>
                    </a:cubicBezTo>
                    <a:cubicBezTo>
                      <a:pt x="23" y="9"/>
                      <a:pt x="26" y="11"/>
                      <a:pt x="29" y="12"/>
                    </a:cubicBezTo>
                    <a:cubicBezTo>
                      <a:pt x="32" y="14"/>
                      <a:pt x="35" y="15"/>
                      <a:pt x="39" y="16"/>
                    </a:cubicBezTo>
                    <a:cubicBezTo>
                      <a:pt x="46" y="19"/>
                      <a:pt x="54" y="20"/>
                      <a:pt x="61" y="19"/>
                    </a:cubicBezTo>
                    <a:cubicBezTo>
                      <a:pt x="63" y="19"/>
                      <a:pt x="65" y="19"/>
                      <a:pt x="67" y="18"/>
                    </a:cubicBezTo>
                    <a:cubicBezTo>
                      <a:pt x="67" y="18"/>
                      <a:pt x="68" y="18"/>
                      <a:pt x="69" y="18"/>
                    </a:cubicBezTo>
                    <a:cubicBezTo>
                      <a:pt x="69" y="18"/>
                      <a:pt x="70" y="17"/>
                      <a:pt x="70" y="17"/>
                    </a:cubicBezTo>
                    <a:cubicBezTo>
                      <a:pt x="71" y="17"/>
                      <a:pt x="70" y="17"/>
                      <a:pt x="70" y="17"/>
                    </a:cubicBezTo>
                    <a:cubicBezTo>
                      <a:pt x="71" y="17"/>
                      <a:pt x="71" y="17"/>
                      <a:pt x="72" y="17"/>
                    </a:cubicBezTo>
                    <a:cubicBezTo>
                      <a:pt x="72" y="16"/>
                      <a:pt x="73" y="16"/>
                      <a:pt x="74" y="16"/>
                    </a:cubicBezTo>
                    <a:cubicBezTo>
                      <a:pt x="75" y="16"/>
                      <a:pt x="76" y="16"/>
                      <a:pt x="75" y="16"/>
                    </a:cubicBezTo>
                    <a:cubicBezTo>
                      <a:pt x="75" y="16"/>
                      <a:pt x="76" y="16"/>
                      <a:pt x="76" y="16"/>
                    </a:cubicBezTo>
                    <a:cubicBezTo>
                      <a:pt x="76" y="16"/>
                      <a:pt x="78" y="16"/>
                      <a:pt x="76" y="16"/>
                    </a:cubicBezTo>
                    <a:cubicBezTo>
                      <a:pt x="77" y="16"/>
                      <a:pt x="77" y="16"/>
                      <a:pt x="77" y="16"/>
                    </a:cubicBezTo>
                    <a:cubicBezTo>
                      <a:pt x="77" y="16"/>
                      <a:pt x="77" y="16"/>
                      <a:pt x="77" y="16"/>
                    </a:cubicBezTo>
                    <a:cubicBezTo>
                      <a:pt x="76" y="16"/>
                      <a:pt x="77" y="16"/>
                      <a:pt x="77" y="16"/>
                    </a:cubicBezTo>
                    <a:cubicBezTo>
                      <a:pt x="77" y="16"/>
                      <a:pt x="78" y="17"/>
                      <a:pt x="77" y="16"/>
                    </a:cubicBezTo>
                    <a:cubicBezTo>
                      <a:pt x="77" y="16"/>
                      <a:pt x="77" y="16"/>
                      <a:pt x="78" y="16"/>
                    </a:cubicBezTo>
                    <a:cubicBezTo>
                      <a:pt x="78" y="17"/>
                      <a:pt x="77" y="15"/>
                      <a:pt x="77" y="16"/>
                    </a:cubicBezTo>
                    <a:cubicBezTo>
                      <a:pt x="78" y="16"/>
                      <a:pt x="78" y="16"/>
                      <a:pt x="78" y="17"/>
                    </a:cubicBezTo>
                    <a:cubicBezTo>
                      <a:pt x="78" y="17"/>
                      <a:pt x="78" y="17"/>
                      <a:pt x="78" y="16"/>
                    </a:cubicBezTo>
                    <a:cubicBezTo>
                      <a:pt x="78" y="16"/>
                      <a:pt x="78" y="16"/>
                      <a:pt x="78" y="17"/>
                    </a:cubicBezTo>
                    <a:cubicBezTo>
                      <a:pt x="78" y="17"/>
                      <a:pt x="78" y="17"/>
                      <a:pt x="78" y="18"/>
                    </a:cubicBezTo>
                    <a:cubicBezTo>
                      <a:pt x="78" y="16"/>
                      <a:pt x="78" y="18"/>
                      <a:pt x="78" y="18"/>
                    </a:cubicBezTo>
                    <a:cubicBezTo>
                      <a:pt x="78" y="19"/>
                      <a:pt x="78" y="19"/>
                      <a:pt x="78" y="19"/>
                    </a:cubicBezTo>
                    <a:cubicBezTo>
                      <a:pt x="78" y="24"/>
                      <a:pt x="77" y="29"/>
                      <a:pt x="77" y="34"/>
                    </a:cubicBezTo>
                    <a:cubicBezTo>
                      <a:pt x="77" y="34"/>
                      <a:pt x="77" y="33"/>
                      <a:pt x="77" y="33"/>
                    </a:cubicBezTo>
                    <a:cubicBezTo>
                      <a:pt x="77" y="33"/>
                      <a:pt x="77" y="34"/>
                      <a:pt x="77" y="34"/>
                    </a:cubicBezTo>
                    <a:cubicBezTo>
                      <a:pt x="77" y="34"/>
                      <a:pt x="77" y="34"/>
                      <a:pt x="77" y="34"/>
                    </a:cubicBezTo>
                    <a:cubicBezTo>
                      <a:pt x="77" y="35"/>
                      <a:pt x="76" y="35"/>
                      <a:pt x="76" y="36"/>
                    </a:cubicBezTo>
                    <a:cubicBezTo>
                      <a:pt x="76" y="37"/>
                      <a:pt x="76" y="38"/>
                      <a:pt x="76" y="39"/>
                    </a:cubicBezTo>
                    <a:cubicBezTo>
                      <a:pt x="76" y="41"/>
                      <a:pt x="75" y="43"/>
                      <a:pt x="75" y="45"/>
                    </a:cubicBezTo>
                    <a:cubicBezTo>
                      <a:pt x="74" y="50"/>
                      <a:pt x="73" y="54"/>
                      <a:pt x="71" y="59"/>
                    </a:cubicBezTo>
                    <a:cubicBezTo>
                      <a:pt x="70" y="61"/>
                      <a:pt x="69" y="63"/>
                      <a:pt x="68" y="66"/>
                    </a:cubicBezTo>
                    <a:cubicBezTo>
                      <a:pt x="68" y="66"/>
                      <a:pt x="68" y="66"/>
                      <a:pt x="68" y="66"/>
                    </a:cubicBezTo>
                    <a:cubicBezTo>
                      <a:pt x="69" y="65"/>
                      <a:pt x="69" y="66"/>
                      <a:pt x="68" y="66"/>
                    </a:cubicBezTo>
                    <a:cubicBezTo>
                      <a:pt x="68" y="66"/>
                      <a:pt x="68" y="66"/>
                      <a:pt x="68" y="67"/>
                    </a:cubicBezTo>
                    <a:cubicBezTo>
                      <a:pt x="68" y="67"/>
                      <a:pt x="68" y="68"/>
                      <a:pt x="67" y="68"/>
                    </a:cubicBezTo>
                    <a:cubicBezTo>
                      <a:pt x="67" y="69"/>
                      <a:pt x="66" y="71"/>
                      <a:pt x="66" y="72"/>
                    </a:cubicBezTo>
                    <a:cubicBezTo>
                      <a:pt x="65" y="74"/>
                      <a:pt x="63" y="76"/>
                      <a:pt x="62" y="78"/>
                    </a:cubicBezTo>
                    <a:cubicBezTo>
                      <a:pt x="61" y="79"/>
                      <a:pt x="61" y="80"/>
                      <a:pt x="60" y="81"/>
                    </a:cubicBezTo>
                    <a:cubicBezTo>
                      <a:pt x="60" y="81"/>
                      <a:pt x="61" y="80"/>
                      <a:pt x="60" y="81"/>
                    </a:cubicBezTo>
                    <a:cubicBezTo>
                      <a:pt x="60" y="81"/>
                      <a:pt x="60" y="81"/>
                      <a:pt x="60" y="81"/>
                    </a:cubicBezTo>
                    <a:cubicBezTo>
                      <a:pt x="60" y="81"/>
                      <a:pt x="60" y="81"/>
                      <a:pt x="59" y="82"/>
                    </a:cubicBezTo>
                    <a:cubicBezTo>
                      <a:pt x="59" y="82"/>
                      <a:pt x="59" y="83"/>
                      <a:pt x="58" y="83"/>
                    </a:cubicBezTo>
                    <a:cubicBezTo>
                      <a:pt x="57" y="85"/>
                      <a:pt x="55" y="86"/>
                      <a:pt x="53" y="88"/>
                    </a:cubicBezTo>
                    <a:cubicBezTo>
                      <a:pt x="53" y="88"/>
                      <a:pt x="53" y="88"/>
                      <a:pt x="52" y="88"/>
                    </a:cubicBezTo>
                    <a:cubicBezTo>
                      <a:pt x="52" y="89"/>
                      <a:pt x="52" y="89"/>
                      <a:pt x="53" y="88"/>
                    </a:cubicBezTo>
                    <a:cubicBezTo>
                      <a:pt x="53" y="88"/>
                      <a:pt x="52" y="88"/>
                      <a:pt x="52" y="88"/>
                    </a:cubicBezTo>
                    <a:cubicBezTo>
                      <a:pt x="52" y="89"/>
                      <a:pt x="51" y="89"/>
                      <a:pt x="51" y="90"/>
                    </a:cubicBezTo>
                    <a:cubicBezTo>
                      <a:pt x="50" y="90"/>
                      <a:pt x="49" y="91"/>
                      <a:pt x="48" y="91"/>
                    </a:cubicBezTo>
                    <a:cubicBezTo>
                      <a:pt x="47" y="92"/>
                      <a:pt x="46" y="92"/>
                      <a:pt x="45" y="93"/>
                    </a:cubicBezTo>
                    <a:cubicBezTo>
                      <a:pt x="46" y="92"/>
                      <a:pt x="45" y="93"/>
                      <a:pt x="44" y="93"/>
                    </a:cubicBezTo>
                    <a:cubicBezTo>
                      <a:pt x="44" y="93"/>
                      <a:pt x="44" y="93"/>
                      <a:pt x="44" y="93"/>
                    </a:cubicBezTo>
                    <a:cubicBezTo>
                      <a:pt x="43" y="94"/>
                      <a:pt x="42" y="94"/>
                      <a:pt x="42" y="94"/>
                    </a:cubicBezTo>
                    <a:cubicBezTo>
                      <a:pt x="41" y="94"/>
                      <a:pt x="39" y="95"/>
                      <a:pt x="38" y="95"/>
                    </a:cubicBezTo>
                    <a:cubicBezTo>
                      <a:pt x="38" y="95"/>
                      <a:pt x="37" y="95"/>
                      <a:pt x="36" y="95"/>
                    </a:cubicBezTo>
                    <a:cubicBezTo>
                      <a:pt x="36" y="95"/>
                      <a:pt x="36" y="95"/>
                      <a:pt x="36" y="95"/>
                    </a:cubicBezTo>
                    <a:cubicBezTo>
                      <a:pt x="37" y="95"/>
                      <a:pt x="37" y="95"/>
                      <a:pt x="36" y="95"/>
                    </a:cubicBezTo>
                    <a:cubicBezTo>
                      <a:pt x="36" y="95"/>
                      <a:pt x="35" y="95"/>
                      <a:pt x="35" y="95"/>
                    </a:cubicBezTo>
                    <a:cubicBezTo>
                      <a:pt x="34" y="96"/>
                      <a:pt x="32" y="96"/>
                      <a:pt x="31" y="96"/>
                    </a:cubicBezTo>
                    <a:cubicBezTo>
                      <a:pt x="30" y="96"/>
                      <a:pt x="30" y="96"/>
                      <a:pt x="29" y="96"/>
                    </a:cubicBezTo>
                    <a:cubicBezTo>
                      <a:pt x="29" y="96"/>
                      <a:pt x="28" y="96"/>
                      <a:pt x="28" y="95"/>
                    </a:cubicBezTo>
                    <a:cubicBezTo>
                      <a:pt x="27" y="95"/>
                      <a:pt x="27" y="95"/>
                      <a:pt x="27" y="95"/>
                    </a:cubicBezTo>
                    <a:cubicBezTo>
                      <a:pt x="27" y="95"/>
                      <a:pt x="27" y="95"/>
                      <a:pt x="28" y="96"/>
                    </a:cubicBezTo>
                    <a:cubicBezTo>
                      <a:pt x="28" y="95"/>
                      <a:pt x="27" y="95"/>
                      <a:pt x="27" y="95"/>
                    </a:cubicBezTo>
                    <a:cubicBezTo>
                      <a:pt x="27" y="95"/>
                      <a:pt x="27" y="95"/>
                      <a:pt x="26" y="95"/>
                    </a:cubicBezTo>
                    <a:cubicBezTo>
                      <a:pt x="26" y="95"/>
                      <a:pt x="26" y="95"/>
                      <a:pt x="26" y="95"/>
                    </a:cubicBezTo>
                    <a:cubicBezTo>
                      <a:pt x="27" y="95"/>
                      <a:pt x="27" y="95"/>
                      <a:pt x="26" y="95"/>
                    </a:cubicBezTo>
                    <a:cubicBezTo>
                      <a:pt x="24" y="94"/>
                      <a:pt x="22" y="93"/>
                      <a:pt x="21" y="92"/>
                    </a:cubicBezTo>
                    <a:cubicBezTo>
                      <a:pt x="20" y="91"/>
                      <a:pt x="20" y="91"/>
                      <a:pt x="19" y="91"/>
                    </a:cubicBezTo>
                    <a:cubicBezTo>
                      <a:pt x="19" y="91"/>
                      <a:pt x="18" y="90"/>
                      <a:pt x="19" y="91"/>
                    </a:cubicBezTo>
                    <a:cubicBezTo>
                      <a:pt x="19" y="91"/>
                      <a:pt x="19" y="91"/>
                      <a:pt x="19" y="90"/>
                    </a:cubicBezTo>
                    <a:cubicBezTo>
                      <a:pt x="18" y="90"/>
                      <a:pt x="18" y="90"/>
                      <a:pt x="18" y="90"/>
                    </a:cubicBezTo>
                    <a:cubicBezTo>
                      <a:pt x="17" y="89"/>
                      <a:pt x="15" y="88"/>
                      <a:pt x="14" y="86"/>
                    </a:cubicBezTo>
                    <a:cubicBezTo>
                      <a:pt x="14" y="86"/>
                      <a:pt x="13" y="85"/>
                      <a:pt x="12" y="84"/>
                    </a:cubicBezTo>
                    <a:cubicBezTo>
                      <a:pt x="13" y="85"/>
                      <a:pt x="12" y="84"/>
                      <a:pt x="12" y="84"/>
                    </a:cubicBezTo>
                    <a:cubicBezTo>
                      <a:pt x="12" y="83"/>
                      <a:pt x="12" y="83"/>
                      <a:pt x="12" y="83"/>
                    </a:cubicBezTo>
                    <a:cubicBezTo>
                      <a:pt x="11" y="82"/>
                      <a:pt x="11" y="82"/>
                      <a:pt x="11" y="81"/>
                    </a:cubicBezTo>
                    <a:cubicBezTo>
                      <a:pt x="10" y="80"/>
                      <a:pt x="9" y="79"/>
                      <a:pt x="9" y="78"/>
                    </a:cubicBezTo>
                    <a:cubicBezTo>
                      <a:pt x="8" y="77"/>
                      <a:pt x="8" y="77"/>
                      <a:pt x="8" y="76"/>
                    </a:cubicBezTo>
                    <a:cubicBezTo>
                      <a:pt x="8" y="76"/>
                      <a:pt x="8" y="76"/>
                      <a:pt x="7" y="75"/>
                    </a:cubicBezTo>
                    <a:cubicBezTo>
                      <a:pt x="8" y="76"/>
                      <a:pt x="7" y="75"/>
                      <a:pt x="7" y="75"/>
                    </a:cubicBezTo>
                    <a:cubicBezTo>
                      <a:pt x="6" y="73"/>
                      <a:pt x="5" y="72"/>
                      <a:pt x="3" y="72"/>
                    </a:cubicBezTo>
                    <a:cubicBezTo>
                      <a:pt x="1" y="73"/>
                      <a:pt x="0" y="75"/>
                      <a:pt x="0" y="77"/>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9" name="Freeform 58">
                <a:extLst>
                  <a:ext uri="{FF2B5EF4-FFF2-40B4-BE49-F238E27FC236}">
                    <a16:creationId xmlns:a16="http://schemas.microsoft.com/office/drawing/2014/main" id="{DDC21DCD-E319-4314-816F-22BF6437835E}"/>
                  </a:ext>
                </a:extLst>
              </p:cNvPr>
              <p:cNvSpPr>
                <a:spLocks/>
              </p:cNvSpPr>
              <p:nvPr/>
            </p:nvSpPr>
            <p:spPr bwMode="auto">
              <a:xfrm>
                <a:off x="6146800" y="1108075"/>
                <a:ext cx="69850" cy="71437"/>
              </a:xfrm>
              <a:custGeom>
                <a:avLst/>
                <a:gdLst>
                  <a:gd name="T0" fmla="*/ 0 w 19"/>
                  <a:gd name="T1" fmla="*/ 6 h 19"/>
                  <a:gd name="T2" fmla="*/ 10 w 19"/>
                  <a:gd name="T3" fmla="*/ 1 h 19"/>
                  <a:gd name="T4" fmla="*/ 18 w 19"/>
                  <a:gd name="T5" fmla="*/ 11 h 19"/>
                  <a:gd name="T6" fmla="*/ 0 w 19"/>
                  <a:gd name="T7" fmla="*/ 6 h 19"/>
                </a:gdLst>
                <a:ahLst/>
                <a:cxnLst>
                  <a:cxn ang="0">
                    <a:pos x="T0" y="T1"/>
                  </a:cxn>
                  <a:cxn ang="0">
                    <a:pos x="T2" y="T3"/>
                  </a:cxn>
                  <a:cxn ang="0">
                    <a:pos x="T4" y="T5"/>
                  </a:cxn>
                  <a:cxn ang="0">
                    <a:pos x="T6" y="T7"/>
                  </a:cxn>
                </a:cxnLst>
                <a:rect l="0" t="0" r="r" b="b"/>
                <a:pathLst>
                  <a:path w="19" h="19">
                    <a:moveTo>
                      <a:pt x="0" y="6"/>
                    </a:moveTo>
                    <a:cubicBezTo>
                      <a:pt x="4" y="0"/>
                      <a:pt x="10" y="1"/>
                      <a:pt x="10" y="1"/>
                    </a:cubicBezTo>
                    <a:cubicBezTo>
                      <a:pt x="19" y="2"/>
                      <a:pt x="18" y="11"/>
                      <a:pt x="18" y="11"/>
                    </a:cubicBezTo>
                    <a:cubicBezTo>
                      <a:pt x="11" y="19"/>
                      <a:pt x="0" y="6"/>
                      <a:pt x="0" y="6"/>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0" name="Freeform 59">
                <a:extLst>
                  <a:ext uri="{FF2B5EF4-FFF2-40B4-BE49-F238E27FC236}">
                    <a16:creationId xmlns:a16="http://schemas.microsoft.com/office/drawing/2014/main" id="{ACF653CD-F8E6-417E-B082-881978D7DED2}"/>
                  </a:ext>
                </a:extLst>
              </p:cNvPr>
              <p:cNvSpPr>
                <a:spLocks/>
              </p:cNvSpPr>
              <p:nvPr/>
            </p:nvSpPr>
            <p:spPr bwMode="auto">
              <a:xfrm>
                <a:off x="6130925" y="1212850"/>
                <a:ext cx="139700" cy="85725"/>
              </a:xfrm>
              <a:custGeom>
                <a:avLst/>
                <a:gdLst>
                  <a:gd name="T0" fmla="*/ 0 w 37"/>
                  <a:gd name="T1" fmla="*/ 15 h 23"/>
                  <a:gd name="T2" fmla="*/ 23 w 37"/>
                  <a:gd name="T3" fmla="*/ 3 h 23"/>
                  <a:gd name="T4" fmla="*/ 37 w 37"/>
                  <a:gd name="T5" fmla="*/ 23 h 23"/>
                  <a:gd name="T6" fmla="*/ 0 w 37"/>
                  <a:gd name="T7" fmla="*/ 15 h 23"/>
                </a:gdLst>
                <a:ahLst/>
                <a:cxnLst>
                  <a:cxn ang="0">
                    <a:pos x="T0" y="T1"/>
                  </a:cxn>
                  <a:cxn ang="0">
                    <a:pos x="T2" y="T3"/>
                  </a:cxn>
                  <a:cxn ang="0">
                    <a:pos x="T4" y="T5"/>
                  </a:cxn>
                  <a:cxn ang="0">
                    <a:pos x="T6" y="T7"/>
                  </a:cxn>
                </a:cxnLst>
                <a:rect l="0" t="0" r="r" b="b"/>
                <a:pathLst>
                  <a:path w="37" h="23">
                    <a:moveTo>
                      <a:pt x="0" y="15"/>
                    </a:moveTo>
                    <a:cubicBezTo>
                      <a:pt x="0" y="14"/>
                      <a:pt x="10" y="0"/>
                      <a:pt x="23" y="3"/>
                    </a:cubicBezTo>
                    <a:cubicBezTo>
                      <a:pt x="36" y="7"/>
                      <a:pt x="37" y="23"/>
                      <a:pt x="37" y="23"/>
                    </a:cubicBezTo>
                    <a:cubicBezTo>
                      <a:pt x="37" y="23"/>
                      <a:pt x="24" y="5"/>
                      <a:pt x="0" y="15"/>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1" name="Freeform 60">
                <a:extLst>
                  <a:ext uri="{FF2B5EF4-FFF2-40B4-BE49-F238E27FC236}">
                    <a16:creationId xmlns:a16="http://schemas.microsoft.com/office/drawing/2014/main" id="{0912243F-4E77-4666-8402-D27BA8BA3288}"/>
                  </a:ext>
                </a:extLst>
              </p:cNvPr>
              <p:cNvSpPr>
                <a:spLocks/>
              </p:cNvSpPr>
              <p:nvPr/>
            </p:nvSpPr>
            <p:spPr bwMode="auto">
              <a:xfrm>
                <a:off x="6254750" y="1130300"/>
                <a:ext cx="71438" cy="71437"/>
              </a:xfrm>
              <a:custGeom>
                <a:avLst/>
                <a:gdLst>
                  <a:gd name="T0" fmla="*/ 0 w 19"/>
                  <a:gd name="T1" fmla="*/ 9 h 19"/>
                  <a:gd name="T2" fmla="*/ 11 w 19"/>
                  <a:gd name="T3" fmla="*/ 2 h 19"/>
                  <a:gd name="T4" fmla="*/ 19 w 19"/>
                  <a:gd name="T5" fmla="*/ 10 h 19"/>
                  <a:gd name="T6" fmla="*/ 0 w 19"/>
                  <a:gd name="T7" fmla="*/ 9 h 19"/>
                </a:gdLst>
                <a:ahLst/>
                <a:cxnLst>
                  <a:cxn ang="0">
                    <a:pos x="T0" y="T1"/>
                  </a:cxn>
                  <a:cxn ang="0">
                    <a:pos x="T2" y="T3"/>
                  </a:cxn>
                  <a:cxn ang="0">
                    <a:pos x="T4" y="T5"/>
                  </a:cxn>
                  <a:cxn ang="0">
                    <a:pos x="T6" y="T7"/>
                  </a:cxn>
                </a:cxnLst>
                <a:rect l="0" t="0" r="r" b="b"/>
                <a:pathLst>
                  <a:path w="19" h="19">
                    <a:moveTo>
                      <a:pt x="0" y="9"/>
                    </a:moveTo>
                    <a:cubicBezTo>
                      <a:pt x="0" y="9"/>
                      <a:pt x="2" y="0"/>
                      <a:pt x="11" y="2"/>
                    </a:cubicBezTo>
                    <a:cubicBezTo>
                      <a:pt x="11" y="2"/>
                      <a:pt x="17" y="3"/>
                      <a:pt x="19" y="10"/>
                    </a:cubicBezTo>
                    <a:cubicBezTo>
                      <a:pt x="19" y="10"/>
                      <a:pt x="4" y="19"/>
                      <a:pt x="0" y="9"/>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72" name="Freeform 55">
            <a:extLst>
              <a:ext uri="{FF2B5EF4-FFF2-40B4-BE49-F238E27FC236}">
                <a16:creationId xmlns:a16="http://schemas.microsoft.com/office/drawing/2014/main" id="{E8977CAF-C89B-4606-9450-1B2D06CF1200}"/>
              </a:ext>
            </a:extLst>
          </p:cNvPr>
          <p:cNvSpPr>
            <a:spLocks/>
          </p:cNvSpPr>
          <p:nvPr/>
        </p:nvSpPr>
        <p:spPr bwMode="auto">
          <a:xfrm>
            <a:off x="8493958" y="1674976"/>
            <a:ext cx="894610" cy="84155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29" y="208"/>
                  <a:pt x="15" y="147"/>
                </a:cubicBezTo>
              </a:path>
            </a:pathLst>
          </a:custGeom>
          <a:solidFill>
            <a:srgbClr val="12ABDB"/>
          </a:solidFill>
          <a:ln w="381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74" name="Freeform 5">
            <a:extLst>
              <a:ext uri="{FF2B5EF4-FFF2-40B4-BE49-F238E27FC236}">
                <a16:creationId xmlns:a16="http://schemas.microsoft.com/office/drawing/2014/main" id="{B25FD585-1745-4F5E-8424-CB5274A0A486}"/>
              </a:ext>
            </a:extLst>
          </p:cNvPr>
          <p:cNvSpPr>
            <a:spLocks noChangeAspect="1"/>
          </p:cNvSpPr>
          <p:nvPr/>
        </p:nvSpPr>
        <p:spPr bwMode="auto">
          <a:xfrm>
            <a:off x="8504260" y="1655734"/>
            <a:ext cx="900958" cy="834776"/>
          </a:xfrm>
          <a:custGeom>
            <a:avLst/>
            <a:gdLst>
              <a:gd name="T0" fmla="*/ 78 w 542"/>
              <a:gd name="T1" fmla="*/ 396 h 507"/>
              <a:gd name="T2" fmla="*/ 130 w 542"/>
              <a:gd name="T3" fmla="*/ 76 h 507"/>
              <a:gd name="T4" fmla="*/ 464 w 542"/>
              <a:gd name="T5" fmla="*/ 123 h 507"/>
              <a:gd name="T6" fmla="*/ 404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7" y="0"/>
                  <a:pt x="387" y="21"/>
                  <a:pt x="464" y="123"/>
                </a:cubicBezTo>
                <a:cubicBezTo>
                  <a:pt x="542" y="225"/>
                  <a:pt x="510" y="356"/>
                  <a:pt x="404" y="431"/>
                </a:cubicBezTo>
                <a:cubicBezTo>
                  <a:pt x="297" y="507"/>
                  <a:pt x="156" y="498"/>
                  <a:pt x="78" y="396"/>
                </a:cubicBezTo>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76" name="Title 3">
            <a:extLst>
              <a:ext uri="{FF2B5EF4-FFF2-40B4-BE49-F238E27FC236}">
                <a16:creationId xmlns:a16="http://schemas.microsoft.com/office/drawing/2014/main" id="{F55D1FC6-13DD-40AA-9504-371183096751}"/>
              </a:ext>
            </a:extLst>
          </p:cNvPr>
          <p:cNvSpPr txBox="1">
            <a:spLocks/>
          </p:cNvSpPr>
          <p:nvPr/>
        </p:nvSpPr>
        <p:spPr>
          <a:xfrm>
            <a:off x="417583" y="246039"/>
            <a:ext cx="12192000"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4000" b="1" i="0" u="none" strike="noStrike" kern="1200" cap="all" spc="0" normalizeH="0" baseline="0" noProof="0" dirty="0">
                <a:ln>
                  <a:noFill/>
                </a:ln>
                <a:solidFill>
                  <a:srgbClr val="FFFFFF"/>
                </a:solidFill>
                <a:effectLst/>
                <a:uLnTx/>
                <a:uFillTx/>
                <a:latin typeface="Ubuntu" panose="020B0504030602030204" pitchFamily="34" charset="0"/>
                <a:ea typeface="+mj-ea"/>
                <a:cs typeface="+mj-cs"/>
              </a:rPr>
              <a:t>2022 Contest </a:t>
            </a:r>
            <a:r>
              <a:rPr kumimoji="0" lang="en-IN" sz="4000" b="1" i="0" u="none" strike="noStrike" kern="1200" cap="all" spc="0" normalizeH="0" baseline="0" noProof="0" dirty="0">
                <a:ln>
                  <a:noFill/>
                </a:ln>
                <a:solidFill>
                  <a:srgbClr val="12ABDB"/>
                </a:solidFill>
                <a:effectLst/>
                <a:uLnTx/>
                <a:uFillTx/>
                <a:latin typeface="Ubuntu" panose="020B0504030602030204" pitchFamily="34" charset="0"/>
                <a:ea typeface="+mj-ea"/>
                <a:cs typeface="+mj-cs"/>
              </a:rPr>
              <a:t>Themes</a:t>
            </a:r>
          </a:p>
        </p:txBody>
      </p:sp>
      <p:pic>
        <p:nvPicPr>
          <p:cNvPr id="8" name="Picture 7">
            <a:extLst>
              <a:ext uri="{FF2B5EF4-FFF2-40B4-BE49-F238E27FC236}">
                <a16:creationId xmlns:a16="http://schemas.microsoft.com/office/drawing/2014/main" id="{B282314D-BFF6-09B5-E8E0-69895BD1FB99}"/>
              </a:ext>
            </a:extLst>
          </p:cNvPr>
          <p:cNvPicPr>
            <a:picLocks noChangeAspect="1"/>
          </p:cNvPicPr>
          <p:nvPr/>
        </p:nvPicPr>
        <p:blipFill>
          <a:blip r:embed="rId12"/>
          <a:stretch>
            <a:fillRect/>
          </a:stretch>
        </p:blipFill>
        <p:spPr>
          <a:xfrm>
            <a:off x="8705438" y="1846103"/>
            <a:ext cx="438561" cy="477466"/>
          </a:xfrm>
          <a:prstGeom prst="rect">
            <a:avLst/>
          </a:prstGeom>
        </p:spPr>
      </p:pic>
    </p:spTree>
    <p:extLst>
      <p:ext uri="{BB962C8B-B14F-4D97-AF65-F5344CB8AC3E}">
        <p14:creationId xmlns:p14="http://schemas.microsoft.com/office/powerpoint/2010/main" val="36463405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480EAE30-41DF-4C62-8BAD-F92E18235DAE}"/>
              </a:ext>
            </a:extLst>
          </p:cNvPr>
          <p:cNvSpPr/>
          <p:nvPr/>
        </p:nvSpPr>
        <p:spPr>
          <a:xfrm>
            <a:off x="2144964" y="2582044"/>
            <a:ext cx="2376000" cy="28078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29" name="AutoShape 6">
            <a:extLst>
              <a:ext uri="{FF2B5EF4-FFF2-40B4-BE49-F238E27FC236}">
                <a16:creationId xmlns:a16="http://schemas.microsoft.com/office/drawing/2014/main" id="{0CD8347C-98BF-43ED-8FA3-6EA49C7F675E}"/>
              </a:ext>
            </a:extLst>
          </p:cNvPr>
          <p:cNvSpPr>
            <a:spLocks noChangeArrowheads="1"/>
          </p:cNvSpPr>
          <p:nvPr>
            <p:custDataLst>
              <p:tags r:id="rId1"/>
            </p:custDataLst>
          </p:nvPr>
        </p:nvSpPr>
        <p:spPr bwMode="auto">
          <a:xfrm rot="16200000">
            <a:off x="5782920" y="-2241885"/>
            <a:ext cx="716711" cy="8783984"/>
          </a:xfrm>
          <a:prstGeom prst="homePlate">
            <a:avLst>
              <a:gd name="adj" fmla="val 66805"/>
            </a:avLst>
          </a:prstGeom>
          <a:solidFill>
            <a:schemeClr val="accent2"/>
          </a:solidFill>
          <a:ln w="9525">
            <a:noFill/>
            <a:miter lim="800000"/>
            <a:headEnd/>
            <a:tailEnd/>
          </a:ln>
          <a:effectLst/>
        </p:spPr>
        <p:txBody>
          <a:bodyPr vert="eaVert" wrap="none" lIns="90000" tIns="46800" rIns="90000" bIns="4680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Ubuntu Medium"/>
              <a:ea typeface="+mn-ea"/>
              <a:cs typeface="Calibri" pitchFamily="34" charset="0"/>
            </a:endParaRPr>
          </a:p>
        </p:txBody>
      </p:sp>
      <p:sp>
        <p:nvSpPr>
          <p:cNvPr id="31" name="Rectangle 5">
            <a:extLst>
              <a:ext uri="{FF2B5EF4-FFF2-40B4-BE49-F238E27FC236}">
                <a16:creationId xmlns:a16="http://schemas.microsoft.com/office/drawing/2014/main" id="{748EB9C8-D32E-482C-A94D-E2361A817F20}"/>
              </a:ext>
            </a:extLst>
          </p:cNvPr>
          <p:cNvSpPr>
            <a:spLocks noChangeArrowheads="1"/>
          </p:cNvSpPr>
          <p:nvPr/>
        </p:nvSpPr>
        <p:spPr bwMode="auto">
          <a:xfrm>
            <a:off x="1704008" y="5463450"/>
            <a:ext cx="8783984" cy="431800"/>
          </a:xfrm>
          <a:prstGeom prst="rect">
            <a:avLst/>
          </a:prstGeom>
          <a:solidFill>
            <a:schemeClr val="accent2"/>
          </a:solidFill>
          <a:ln w="9525">
            <a:noFill/>
            <a:miter lim="800000"/>
            <a:headEnd/>
            <a:tailEnd/>
          </a:ln>
          <a:effectLst/>
        </p:spPr>
        <p:txBody>
          <a:bodyPr lIns="90000" anchor="ctr"/>
          <a:lstStyle/>
          <a:p>
            <a:pPr marL="0" marR="0" lvl="1" indent="0" algn="ctr" defTabSz="914400" rtl="0" eaLnBrk="1" fontAlgn="auto" latinLnBrk="0" hangingPunct="1">
              <a:lnSpc>
                <a:spcPct val="90000"/>
              </a:lnSpc>
              <a:spcBef>
                <a:spcPts val="0"/>
              </a:spcBef>
              <a:spcAft>
                <a:spcPts val="0"/>
              </a:spcAft>
              <a:buClr>
                <a:srgbClr val="12ABDB"/>
              </a:buClr>
              <a:buSzTx/>
              <a:buFont typeface="Arial" charset="0"/>
              <a:buNone/>
              <a:tabLst/>
              <a:defRPr/>
            </a:pPr>
            <a:endParaRPr kumimoji="0" lang="en-US" sz="1600" b="0" i="0" u="none" strike="noStrike" kern="1200" cap="none" spc="0" normalizeH="0" baseline="0" noProof="0" dirty="0">
              <a:ln>
                <a:noFill/>
              </a:ln>
              <a:solidFill>
                <a:srgbClr val="FFFFFF"/>
              </a:solidFill>
              <a:effectLst/>
              <a:uLnTx/>
              <a:uFillTx/>
              <a:latin typeface="Ubuntu Medium"/>
              <a:ea typeface="+mn-ea"/>
              <a:cs typeface="Calibri" pitchFamily="34" charset="0"/>
            </a:endParaRPr>
          </a:p>
        </p:txBody>
      </p:sp>
      <p:sp>
        <p:nvSpPr>
          <p:cNvPr id="37" name="Rectangle 36">
            <a:extLst>
              <a:ext uri="{FF2B5EF4-FFF2-40B4-BE49-F238E27FC236}">
                <a16:creationId xmlns:a16="http://schemas.microsoft.com/office/drawing/2014/main" id="{AC5CF148-5D5F-4124-850D-5ACB54A42DAC}"/>
              </a:ext>
            </a:extLst>
          </p:cNvPr>
          <p:cNvSpPr/>
          <p:nvPr/>
        </p:nvSpPr>
        <p:spPr>
          <a:xfrm>
            <a:off x="4953276" y="2582044"/>
            <a:ext cx="2376000" cy="28078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38" name="Rectangle 37">
            <a:extLst>
              <a:ext uri="{FF2B5EF4-FFF2-40B4-BE49-F238E27FC236}">
                <a16:creationId xmlns:a16="http://schemas.microsoft.com/office/drawing/2014/main" id="{3A145E02-9A0D-4F6A-AEDB-E85FC01BB378}"/>
              </a:ext>
            </a:extLst>
          </p:cNvPr>
          <p:cNvSpPr/>
          <p:nvPr/>
        </p:nvSpPr>
        <p:spPr>
          <a:xfrm>
            <a:off x="7761588" y="2582044"/>
            <a:ext cx="2376000" cy="28078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39" name="Rectangle 3">
            <a:extLst>
              <a:ext uri="{FF2B5EF4-FFF2-40B4-BE49-F238E27FC236}">
                <a16:creationId xmlns:a16="http://schemas.microsoft.com/office/drawing/2014/main" id="{90875018-6A5C-4C46-A397-7B2B5578FB05}"/>
              </a:ext>
            </a:extLst>
          </p:cNvPr>
          <p:cNvSpPr>
            <a:spLocks noGrp="1"/>
          </p:cNvSpPr>
          <p:nvPr>
            <p:custDataLst>
              <p:tags r:id="rId2"/>
            </p:custDataLst>
          </p:nvPr>
        </p:nvSpPr>
        <p:spPr bwMode="auto">
          <a:xfrm>
            <a:off x="2288848" y="2582012"/>
            <a:ext cx="2088232" cy="2808000"/>
          </a:xfrm>
          <a:prstGeom prst="rect">
            <a:avLst/>
          </a:prstGeom>
          <a:solidFill>
            <a:schemeClr val="bg2"/>
          </a:solidFill>
          <a:ln w="9525">
            <a:noFill/>
            <a:miter lim="800000"/>
            <a:headEnd/>
            <a:tailEnd/>
          </a:ln>
          <a:effectLst/>
        </p:spPr>
        <p:txBody>
          <a:bodyPr lIns="90000" tIns="46800"/>
          <a:lstStyle>
            <a:lvl1pPr marL="182563" indent="-182563" algn="l" rtl="0" eaLnBrk="1" fontAlgn="base" hangingPunct="1">
              <a:lnSpc>
                <a:spcPct val="90000"/>
              </a:lnSpc>
              <a:spcBef>
                <a:spcPts val="0"/>
              </a:spcBef>
              <a:spcAft>
                <a:spcPts val="400"/>
              </a:spcAft>
              <a:buClr>
                <a:schemeClr val="accent2"/>
              </a:buClr>
              <a:buSzPct val="10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14400" rtl="0" eaLnBrk="1" fontAlgn="base" latinLnBrk="0" hangingPunct="1">
              <a:lnSpc>
                <a:spcPct val="100000"/>
              </a:lnSpc>
              <a:spcBef>
                <a:spcPts val="0"/>
              </a:spcBef>
              <a:spcAft>
                <a:spcPts val="600"/>
              </a:spcAft>
              <a:buClr>
                <a:srgbClr val="272936"/>
              </a:buClr>
              <a:buSzPct val="200000"/>
              <a:buBlip>
                <a:blip r:embed="rId6">
                  <a:extLst>
                    <a:ext uri="{96DAC541-7B7A-43D3-8B79-37D633B846F1}">
                      <asvg:svgBlip xmlns:asvg="http://schemas.microsoft.com/office/drawing/2016/SVG/main" r:embed="rId7"/>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Digital Experience and Intelligent Industry</a:t>
            </a:r>
            <a:endParaRPr kumimoji="0" lang="en-US" sz="1400" u="none" strike="noStrike" kern="1200" cap="none" spc="0" normalizeH="0" baseline="0" noProof="0" dirty="0">
              <a:ln>
                <a:noFill/>
              </a:ln>
              <a:solidFill>
                <a:prstClr val="black"/>
              </a:solidFill>
              <a:effectLst/>
              <a:uLnTx/>
              <a:uFillTx/>
              <a:latin typeface="Ubuntu Light" panose="020B0304030602030204" pitchFamily="34" charset="0"/>
            </a:endParaRPr>
          </a:p>
          <a:p>
            <a:pPr marL="285750" marR="0" lvl="1" indent="-285750" algn="l" defTabSz="914400" rtl="0" eaLnBrk="1" fontAlgn="base" latinLnBrk="0" hangingPunct="1">
              <a:lnSpc>
                <a:spcPct val="100000"/>
              </a:lnSpc>
              <a:spcBef>
                <a:spcPts val="0"/>
              </a:spcBef>
              <a:spcAft>
                <a:spcPts val="600"/>
              </a:spcAft>
              <a:buClr>
                <a:srgbClr val="272936"/>
              </a:buClr>
              <a:buSzPct val="200000"/>
              <a:buBlip>
                <a:blip r:embed="rId6">
                  <a:extLst>
                    <a:ext uri="{96DAC541-7B7A-43D3-8B79-37D633B846F1}">
                      <asvg:svgBlip xmlns:asvg="http://schemas.microsoft.com/office/drawing/2016/SVG/main" r:embed="rId7"/>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Network Management through Cloud S</a:t>
            </a:r>
            <a:r>
              <a:rPr kumimoji="0" lang="en-IN" sz="1400" u="none" strike="noStrike" kern="1200" cap="none" spc="0" normalizeH="0" baseline="0" noProof="0" dirty="0" err="1">
                <a:ln>
                  <a:noFill/>
                </a:ln>
                <a:solidFill>
                  <a:prstClr val="black"/>
                </a:solidFill>
                <a:effectLst/>
                <a:uLnTx/>
                <a:uFillTx/>
                <a:latin typeface="Ubuntu Light" panose="020B0304030602030204" pitchFamily="34" charset="0"/>
              </a:rPr>
              <a:t>oftware</a:t>
            </a:r>
            <a:endParaRPr kumimoji="0" lang="en-IN" sz="1400" u="none" strike="noStrike" kern="1200" cap="none" spc="0" normalizeH="0" baseline="0" noProof="0" dirty="0">
              <a:ln>
                <a:noFill/>
              </a:ln>
              <a:solidFill>
                <a:prstClr val="black"/>
              </a:solidFill>
              <a:effectLst/>
              <a:uLnTx/>
              <a:uFillTx/>
              <a:latin typeface="Ubuntu Light" panose="020B0304030602030204" pitchFamily="34" charset="0"/>
            </a:endParaRPr>
          </a:p>
          <a:p>
            <a:pPr marL="285750" marR="0" lvl="1" indent="-285750" algn="l" defTabSz="914400" rtl="0" eaLnBrk="1" fontAlgn="base" latinLnBrk="0" hangingPunct="1">
              <a:lnSpc>
                <a:spcPct val="100000"/>
              </a:lnSpc>
              <a:spcBef>
                <a:spcPts val="0"/>
              </a:spcBef>
              <a:spcAft>
                <a:spcPts val="600"/>
              </a:spcAft>
              <a:buClr>
                <a:srgbClr val="272936"/>
              </a:buClr>
              <a:buSzPct val="200000"/>
              <a:buBlip>
                <a:blip r:embed="rId6">
                  <a:extLst>
                    <a:ext uri="{96DAC541-7B7A-43D3-8B79-37D633B846F1}">
                      <asvg:svgBlip xmlns:asvg="http://schemas.microsoft.com/office/drawing/2016/SVG/main" r:embed="rId7"/>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TCO Reduction and Improvement in Efficiency using Cloud</a:t>
            </a:r>
            <a:endParaRPr kumimoji="0" lang="en-US" sz="1400" u="none" strike="noStrike" kern="1200" cap="none" spc="0" normalizeH="0" baseline="0" noProof="0" dirty="0">
              <a:ln>
                <a:noFill/>
              </a:ln>
              <a:solidFill>
                <a:prstClr val="black"/>
              </a:solidFill>
              <a:effectLst/>
              <a:uLnTx/>
              <a:uFillTx/>
              <a:latin typeface="Ubuntu Light" panose="020B0304030602030204" pitchFamily="34" charset="0"/>
            </a:endParaRPr>
          </a:p>
        </p:txBody>
      </p:sp>
      <p:sp>
        <p:nvSpPr>
          <p:cNvPr id="40" name="Rectangle 3">
            <a:extLst>
              <a:ext uri="{FF2B5EF4-FFF2-40B4-BE49-F238E27FC236}">
                <a16:creationId xmlns:a16="http://schemas.microsoft.com/office/drawing/2014/main" id="{1AE58B54-17C0-4D1D-A385-669D41658CFA}"/>
              </a:ext>
            </a:extLst>
          </p:cNvPr>
          <p:cNvSpPr>
            <a:spLocks noGrp="1"/>
          </p:cNvSpPr>
          <p:nvPr>
            <p:custDataLst>
              <p:tags r:id="rId3"/>
            </p:custDataLst>
          </p:nvPr>
        </p:nvSpPr>
        <p:spPr bwMode="auto">
          <a:xfrm>
            <a:off x="5097160" y="2582044"/>
            <a:ext cx="2088232" cy="2808000"/>
          </a:xfrm>
          <a:prstGeom prst="rect">
            <a:avLst/>
          </a:prstGeom>
          <a:solidFill>
            <a:schemeClr val="bg2"/>
          </a:solidFill>
          <a:ln w="9525">
            <a:noFill/>
            <a:miter lim="800000"/>
            <a:headEnd/>
            <a:tailEnd/>
          </a:ln>
          <a:effectLst/>
        </p:spPr>
        <p:txBody>
          <a:bodyPr lIns="90000" tIns="46800"/>
          <a:lstStyle>
            <a:lvl1pPr marL="182563" indent="-182563" algn="l" rtl="0" eaLnBrk="1" fontAlgn="base" hangingPunct="1">
              <a:lnSpc>
                <a:spcPct val="90000"/>
              </a:lnSpc>
              <a:spcBef>
                <a:spcPts val="0"/>
              </a:spcBef>
              <a:spcAft>
                <a:spcPts val="400"/>
              </a:spcAft>
              <a:buClr>
                <a:schemeClr val="accent2"/>
              </a:buClr>
              <a:buSzPct val="10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14400" rtl="0" eaLnBrk="1" fontAlgn="base" latinLnBrk="0" hangingPunct="1">
              <a:lnSpc>
                <a:spcPct val="100000"/>
              </a:lnSpc>
              <a:spcBef>
                <a:spcPts val="0"/>
              </a:spcBef>
              <a:spcAft>
                <a:spcPts val="600"/>
              </a:spcAft>
              <a:buClr>
                <a:srgbClr val="272936"/>
              </a:buClr>
              <a:buSzPct val="125000"/>
              <a:buBlip>
                <a:blip r:embed="rId8">
                  <a:extLst>
                    <a:ext uri="{96DAC541-7B7A-43D3-8B79-37D633B846F1}">
                      <asvg:svgBlip xmlns:asvg="http://schemas.microsoft.com/office/drawing/2016/SVG/main" r:embed="rId9"/>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Accelerate </a:t>
            </a:r>
            <a:r>
              <a:rPr lang="en-IN" sz="1400" dirty="0">
                <a:solidFill>
                  <a:prstClr val="black"/>
                </a:solidFill>
                <a:latin typeface="Ubuntu Light" panose="020B0304030602030204" pitchFamily="34" charset="0"/>
              </a:rPr>
              <a:t>C</a:t>
            </a:r>
            <a:r>
              <a:rPr kumimoji="0" lang="en-IN" sz="1400" u="none" strike="noStrike" kern="1200" cap="none" spc="0" normalizeH="0" baseline="0" noProof="0" dirty="0" err="1">
                <a:ln>
                  <a:noFill/>
                </a:ln>
                <a:solidFill>
                  <a:prstClr val="black"/>
                </a:solidFill>
                <a:effectLst/>
                <a:uLnTx/>
                <a:uFillTx/>
                <a:latin typeface="Ubuntu Light" panose="020B0304030602030204" pitchFamily="34" charset="0"/>
              </a:rPr>
              <a:t>ontent</a:t>
            </a: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 Production and Acquisition</a:t>
            </a:r>
          </a:p>
          <a:p>
            <a:pPr marL="285750" marR="0" lvl="1" indent="-285750" algn="l" defTabSz="914400" rtl="0" eaLnBrk="1" fontAlgn="base" latinLnBrk="0" hangingPunct="1">
              <a:lnSpc>
                <a:spcPct val="100000"/>
              </a:lnSpc>
              <a:spcBef>
                <a:spcPts val="0"/>
              </a:spcBef>
              <a:spcAft>
                <a:spcPts val="600"/>
              </a:spcAft>
              <a:buClr>
                <a:srgbClr val="272936"/>
              </a:buClr>
              <a:buSzPct val="125000"/>
              <a:buBlip>
                <a:blip r:embed="rId8">
                  <a:extLst>
                    <a:ext uri="{96DAC541-7B7A-43D3-8B79-37D633B846F1}">
                      <asvg:svgBlip xmlns:asvg="http://schemas.microsoft.com/office/drawing/2016/SVG/main" r:embed="rId9"/>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Optimize Content Delivery</a:t>
            </a:r>
          </a:p>
          <a:p>
            <a:pPr marL="285750" marR="0" lvl="1" indent="-285750" algn="l" defTabSz="914400" rtl="0" eaLnBrk="1" fontAlgn="base" latinLnBrk="0" hangingPunct="1">
              <a:lnSpc>
                <a:spcPct val="100000"/>
              </a:lnSpc>
              <a:spcBef>
                <a:spcPts val="0"/>
              </a:spcBef>
              <a:spcAft>
                <a:spcPts val="600"/>
              </a:spcAft>
              <a:buClr>
                <a:srgbClr val="272936"/>
              </a:buClr>
              <a:buSzPct val="125000"/>
              <a:buBlip>
                <a:blip r:embed="rId8">
                  <a:extLst>
                    <a:ext uri="{96DAC541-7B7A-43D3-8B79-37D633B846F1}">
                      <asvg:svgBlip xmlns:asvg="http://schemas.microsoft.com/office/drawing/2016/SVG/main" r:embed="rId9"/>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Enhanced Audience Experiences</a:t>
            </a:r>
          </a:p>
          <a:p>
            <a:pPr marL="285750" marR="0" lvl="1" indent="-285750" algn="l" defTabSz="914400" rtl="0" eaLnBrk="1" fontAlgn="base" latinLnBrk="0" hangingPunct="1">
              <a:lnSpc>
                <a:spcPct val="100000"/>
              </a:lnSpc>
              <a:spcBef>
                <a:spcPts val="0"/>
              </a:spcBef>
              <a:spcAft>
                <a:spcPts val="600"/>
              </a:spcAft>
              <a:buClr>
                <a:srgbClr val="272936"/>
              </a:buClr>
              <a:buSzPct val="125000"/>
              <a:buBlip>
                <a:blip r:embed="rId8">
                  <a:extLst>
                    <a:ext uri="{96DAC541-7B7A-43D3-8B79-37D633B846F1}">
                      <asvg:svgBlip xmlns:asvg="http://schemas.microsoft.com/office/drawing/2016/SVG/main" r:embed="rId9"/>
                    </a:ext>
                  </a:extLst>
                </a:blip>
              </a:buBlip>
              <a:tabLst/>
              <a:defRPr/>
            </a:pPr>
            <a:r>
              <a:rPr kumimoji="0" lang="en-US" sz="1400" u="none" strike="noStrike" kern="1200" cap="none" spc="0" normalizeH="0" baseline="0" noProof="0" dirty="0">
                <a:ln>
                  <a:noFill/>
                </a:ln>
                <a:solidFill>
                  <a:prstClr val="black"/>
                </a:solidFill>
                <a:effectLst/>
                <a:uLnTx/>
                <a:uFillTx/>
                <a:latin typeface="Ubuntu Light" panose="020B0304030602030204" pitchFamily="34" charset="0"/>
              </a:rPr>
              <a:t>Monetize Content </a:t>
            </a:r>
          </a:p>
        </p:txBody>
      </p:sp>
      <p:sp>
        <p:nvSpPr>
          <p:cNvPr id="42" name="Rectangle 3">
            <a:extLst>
              <a:ext uri="{FF2B5EF4-FFF2-40B4-BE49-F238E27FC236}">
                <a16:creationId xmlns:a16="http://schemas.microsoft.com/office/drawing/2014/main" id="{8F717532-BA33-40A7-8E32-1023BB9DF69C}"/>
              </a:ext>
            </a:extLst>
          </p:cNvPr>
          <p:cNvSpPr>
            <a:spLocks noGrp="1"/>
          </p:cNvSpPr>
          <p:nvPr>
            <p:custDataLst>
              <p:tags r:id="rId4"/>
            </p:custDataLst>
          </p:nvPr>
        </p:nvSpPr>
        <p:spPr bwMode="auto">
          <a:xfrm>
            <a:off x="7905472" y="2582044"/>
            <a:ext cx="2088232" cy="2808000"/>
          </a:xfrm>
          <a:prstGeom prst="rect">
            <a:avLst/>
          </a:prstGeom>
          <a:solidFill>
            <a:schemeClr val="bg2"/>
          </a:solidFill>
          <a:ln w="9525">
            <a:noFill/>
            <a:miter lim="800000"/>
            <a:headEnd/>
            <a:tailEnd/>
          </a:ln>
          <a:effectLst/>
        </p:spPr>
        <p:txBody>
          <a:bodyPr lIns="90000" tIns="46800"/>
          <a:lstStyle>
            <a:lvl1pPr marL="182563" indent="-182563" algn="l" rtl="0" eaLnBrk="1" fontAlgn="base" hangingPunct="1">
              <a:lnSpc>
                <a:spcPct val="90000"/>
              </a:lnSpc>
              <a:spcBef>
                <a:spcPts val="0"/>
              </a:spcBef>
              <a:spcAft>
                <a:spcPts val="400"/>
              </a:spcAft>
              <a:buClr>
                <a:schemeClr val="accent2"/>
              </a:buClr>
              <a:buSzPct val="10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1" indent="-285750" algn="l" defTabSz="914400" rtl="0" eaLnBrk="1" fontAlgn="base" latinLnBrk="0" hangingPunct="1">
              <a:lnSpc>
                <a:spcPct val="100000"/>
              </a:lnSpc>
              <a:spcBef>
                <a:spcPts val="0"/>
              </a:spcBef>
              <a:spcAft>
                <a:spcPts val="600"/>
              </a:spcAft>
              <a:buClr>
                <a:srgbClr val="272936"/>
              </a:buClr>
              <a:buSzPct val="150000"/>
              <a:buBlip>
                <a:blip r:embed="rId10">
                  <a:extLst>
                    <a:ext uri="{96DAC541-7B7A-43D3-8B79-37D633B846F1}">
                      <asvg:svgBlip xmlns:asvg="http://schemas.microsoft.com/office/drawing/2016/SVG/main" r:embed="rId11"/>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Subscription and Servitization </a:t>
            </a:r>
          </a:p>
          <a:p>
            <a:pPr marL="285750" marR="0" lvl="1" indent="-285750" algn="l" defTabSz="914400" rtl="0" eaLnBrk="1" fontAlgn="base" latinLnBrk="0" hangingPunct="1">
              <a:lnSpc>
                <a:spcPct val="100000"/>
              </a:lnSpc>
              <a:spcBef>
                <a:spcPts val="0"/>
              </a:spcBef>
              <a:spcAft>
                <a:spcPts val="600"/>
              </a:spcAft>
              <a:buClr>
                <a:srgbClr val="272936"/>
              </a:buClr>
              <a:buSzPct val="150000"/>
              <a:buBlip>
                <a:blip r:embed="rId10">
                  <a:extLst>
                    <a:ext uri="{96DAC541-7B7A-43D3-8B79-37D633B846F1}">
                      <asvg:svgBlip xmlns:asvg="http://schemas.microsoft.com/office/drawing/2016/SVG/main" r:embed="rId11"/>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Scale with Platform Companies </a:t>
            </a:r>
          </a:p>
          <a:p>
            <a:pPr marL="285750" marR="0" lvl="1" indent="-285750" algn="l" defTabSz="914400" rtl="0" eaLnBrk="1" fontAlgn="base" latinLnBrk="0" hangingPunct="1">
              <a:lnSpc>
                <a:spcPct val="100000"/>
              </a:lnSpc>
              <a:spcBef>
                <a:spcPts val="0"/>
              </a:spcBef>
              <a:spcAft>
                <a:spcPts val="600"/>
              </a:spcAft>
              <a:buClr>
                <a:srgbClr val="272936"/>
              </a:buClr>
              <a:buSzPct val="150000"/>
              <a:buBlip>
                <a:blip r:embed="rId10">
                  <a:extLst>
                    <a:ext uri="{96DAC541-7B7A-43D3-8B79-37D633B846F1}">
                      <asvg:svgBlip xmlns:asvg="http://schemas.microsoft.com/office/drawing/2016/SVG/main" r:embed="rId11"/>
                    </a:ext>
                  </a:extLst>
                </a:blip>
              </a:buBlip>
              <a:tabLst/>
              <a:defRPr/>
            </a:pPr>
            <a:r>
              <a:rPr kumimoji="0" lang="en-IN" sz="1400" u="none" strike="noStrike" kern="1200" cap="none" spc="0" normalizeH="0" baseline="0" noProof="0" dirty="0">
                <a:ln>
                  <a:noFill/>
                </a:ln>
                <a:solidFill>
                  <a:prstClr val="black"/>
                </a:solidFill>
                <a:effectLst/>
                <a:uLnTx/>
                <a:uFillTx/>
                <a:latin typeface="Ubuntu Light" panose="020B0304030602030204" pitchFamily="34" charset="0"/>
              </a:rPr>
              <a:t>Product Transformation</a:t>
            </a:r>
          </a:p>
          <a:p>
            <a:pPr marL="285750" marR="0" lvl="1" indent="-285750" algn="l" defTabSz="914400" rtl="0" eaLnBrk="1" fontAlgn="base" latinLnBrk="0" hangingPunct="1">
              <a:lnSpc>
                <a:spcPct val="100000"/>
              </a:lnSpc>
              <a:spcBef>
                <a:spcPts val="0"/>
              </a:spcBef>
              <a:spcAft>
                <a:spcPts val="600"/>
              </a:spcAft>
              <a:buClr>
                <a:srgbClr val="272936"/>
              </a:buClr>
              <a:buSzPct val="150000"/>
              <a:buBlip>
                <a:blip r:embed="rId10">
                  <a:extLst>
                    <a:ext uri="{96DAC541-7B7A-43D3-8B79-37D633B846F1}">
                      <asvg:svgBlip xmlns:asvg="http://schemas.microsoft.com/office/drawing/2016/SVG/main" r:embed="rId11"/>
                    </a:ext>
                  </a:extLst>
                </a:blip>
              </a:buBlip>
              <a:tabLst/>
              <a:defRPr/>
            </a:pPr>
            <a:r>
              <a:rPr kumimoji="0" lang="en-US" sz="1400" u="none" strike="noStrike" kern="1200" cap="none" spc="0" normalizeH="0" baseline="0" noProof="0" dirty="0">
                <a:ln>
                  <a:noFill/>
                </a:ln>
                <a:solidFill>
                  <a:prstClr val="black"/>
                </a:solidFill>
                <a:effectLst/>
                <a:uLnTx/>
                <a:uFillTx/>
                <a:latin typeface="Ubuntu Light" panose="020B0304030602030204" pitchFamily="34" charset="0"/>
              </a:rPr>
              <a:t>Sustainability</a:t>
            </a:r>
          </a:p>
        </p:txBody>
      </p:sp>
      <p:sp>
        <p:nvSpPr>
          <p:cNvPr id="2" name="TextBox 1">
            <a:extLst>
              <a:ext uri="{FF2B5EF4-FFF2-40B4-BE49-F238E27FC236}">
                <a16:creationId xmlns:a16="http://schemas.microsoft.com/office/drawing/2014/main" id="{FE8F62D0-1204-4489-9221-F77160055E5E}"/>
              </a:ext>
            </a:extLst>
          </p:cNvPr>
          <p:cNvSpPr txBox="1"/>
          <p:nvPr/>
        </p:nvSpPr>
        <p:spPr>
          <a:xfrm>
            <a:off x="2279080" y="5556238"/>
            <a:ext cx="2088232" cy="246221"/>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Ubuntu"/>
                <a:ea typeface="+mn-ea"/>
                <a:cs typeface="+mn-cs"/>
              </a:rPr>
              <a:t>Telecommunications</a:t>
            </a:r>
            <a:endParaRPr kumimoji="0" lang="en-IN" sz="1400" b="1" i="0" u="none" strike="noStrike" kern="1200" cap="none" spc="0" normalizeH="0" baseline="0" noProof="0" dirty="0">
              <a:ln>
                <a:noFill/>
              </a:ln>
              <a:solidFill>
                <a:srgbClr val="FFFFFF"/>
              </a:solidFill>
              <a:effectLst/>
              <a:uLnTx/>
              <a:uFillTx/>
              <a:latin typeface="Ubuntu"/>
              <a:ea typeface="+mn-ea"/>
              <a:cs typeface="+mn-cs"/>
            </a:endParaRPr>
          </a:p>
        </p:txBody>
      </p:sp>
      <p:sp>
        <p:nvSpPr>
          <p:cNvPr id="43" name="TextBox 42">
            <a:extLst>
              <a:ext uri="{FF2B5EF4-FFF2-40B4-BE49-F238E27FC236}">
                <a16:creationId xmlns:a16="http://schemas.microsoft.com/office/drawing/2014/main" id="{F3A31993-D01E-4789-B299-3CB3A83431A7}"/>
              </a:ext>
            </a:extLst>
          </p:cNvPr>
          <p:cNvSpPr txBox="1"/>
          <p:nvPr/>
        </p:nvSpPr>
        <p:spPr>
          <a:xfrm>
            <a:off x="4929383" y="5556239"/>
            <a:ext cx="2313697" cy="246221"/>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Ubuntu"/>
                <a:ea typeface="+mn-ea"/>
                <a:cs typeface="+mn-cs"/>
              </a:rPr>
              <a:t>Media &amp; Entertainment</a:t>
            </a:r>
          </a:p>
        </p:txBody>
      </p:sp>
      <p:sp>
        <p:nvSpPr>
          <p:cNvPr id="44" name="TextBox 43">
            <a:extLst>
              <a:ext uri="{FF2B5EF4-FFF2-40B4-BE49-F238E27FC236}">
                <a16:creationId xmlns:a16="http://schemas.microsoft.com/office/drawing/2014/main" id="{FB4E449F-769E-4D62-9F50-B22E5D7089B6}"/>
              </a:ext>
            </a:extLst>
          </p:cNvPr>
          <p:cNvSpPr txBox="1"/>
          <p:nvPr/>
        </p:nvSpPr>
        <p:spPr>
          <a:xfrm>
            <a:off x="7895704" y="5556239"/>
            <a:ext cx="2088232" cy="246221"/>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FFFFFF"/>
                </a:solidFill>
                <a:effectLst/>
                <a:uLnTx/>
                <a:uFillTx/>
                <a:latin typeface="Ubuntu"/>
                <a:ea typeface="+mn-ea"/>
                <a:cs typeface="+mn-cs"/>
              </a:rPr>
              <a:t>High - Tech</a:t>
            </a:r>
          </a:p>
        </p:txBody>
      </p:sp>
      <p:grpSp>
        <p:nvGrpSpPr>
          <p:cNvPr id="45" name="Groupe 632">
            <a:extLst>
              <a:ext uri="{FF2B5EF4-FFF2-40B4-BE49-F238E27FC236}">
                <a16:creationId xmlns:a16="http://schemas.microsoft.com/office/drawing/2014/main" id="{172E2574-6553-4B4E-AA85-8A84427F3D5C}"/>
              </a:ext>
            </a:extLst>
          </p:cNvPr>
          <p:cNvGrpSpPr>
            <a:grpSpLocks noChangeAspect="1"/>
          </p:cNvGrpSpPr>
          <p:nvPr/>
        </p:nvGrpSpPr>
        <p:grpSpPr>
          <a:xfrm>
            <a:off x="2884825" y="1688887"/>
            <a:ext cx="894610" cy="840168"/>
            <a:chOff x="747713" y="671513"/>
            <a:chExt cx="965200" cy="906462"/>
          </a:xfrm>
        </p:grpSpPr>
        <p:sp>
          <p:nvSpPr>
            <p:cNvPr id="46" name="Freeform 29">
              <a:extLst>
                <a:ext uri="{FF2B5EF4-FFF2-40B4-BE49-F238E27FC236}">
                  <a16:creationId xmlns:a16="http://schemas.microsoft.com/office/drawing/2014/main" id="{CFC6A428-F791-43C6-8C8A-02575FA0074F}"/>
                </a:ext>
              </a:extLst>
            </p:cNvPr>
            <p:cNvSpPr>
              <a:spLocks/>
            </p:cNvSpPr>
            <p:nvPr/>
          </p:nvSpPr>
          <p:spPr bwMode="auto">
            <a:xfrm>
              <a:off x="747713" y="671513"/>
              <a:ext cx="965200" cy="90646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30" y="208"/>
                    <a:pt x="15" y="147"/>
                  </a:cubicBezTo>
                </a:path>
              </a:pathLst>
            </a:custGeom>
            <a:solidFill>
              <a:srgbClr val="12ABDB"/>
            </a:solidFill>
            <a:ln w="381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grpSp>
          <p:nvGrpSpPr>
            <p:cNvPr id="47" name="Groupe 634">
              <a:extLst>
                <a:ext uri="{FF2B5EF4-FFF2-40B4-BE49-F238E27FC236}">
                  <a16:creationId xmlns:a16="http://schemas.microsoft.com/office/drawing/2014/main" id="{D2F93961-9AB7-4527-A39B-69A278736B08}"/>
                </a:ext>
              </a:extLst>
            </p:cNvPr>
            <p:cNvGrpSpPr/>
            <p:nvPr/>
          </p:nvGrpSpPr>
          <p:grpSpPr>
            <a:xfrm>
              <a:off x="1022350" y="869950"/>
              <a:ext cx="438151" cy="496887"/>
              <a:chOff x="1022350" y="869950"/>
              <a:chExt cx="438151" cy="496887"/>
            </a:xfrm>
          </p:grpSpPr>
          <p:sp>
            <p:nvSpPr>
              <p:cNvPr id="48" name="Freeform 30">
                <a:extLst>
                  <a:ext uri="{FF2B5EF4-FFF2-40B4-BE49-F238E27FC236}">
                    <a16:creationId xmlns:a16="http://schemas.microsoft.com/office/drawing/2014/main" id="{C774B379-0CF5-40DD-A4CD-6D188F880A8D}"/>
                  </a:ext>
                </a:extLst>
              </p:cNvPr>
              <p:cNvSpPr>
                <a:spLocks noEditPoints="1"/>
              </p:cNvSpPr>
              <p:nvPr/>
            </p:nvSpPr>
            <p:spPr bwMode="auto">
              <a:xfrm>
                <a:off x="1022350" y="990600"/>
                <a:ext cx="314325" cy="376237"/>
              </a:xfrm>
              <a:custGeom>
                <a:avLst/>
                <a:gdLst>
                  <a:gd name="T0" fmla="*/ 45 w 84"/>
                  <a:gd name="T1" fmla="*/ 77 h 100"/>
                  <a:gd name="T2" fmla="*/ 22 w 84"/>
                  <a:gd name="T3" fmla="*/ 77 h 100"/>
                  <a:gd name="T4" fmla="*/ 32 w 84"/>
                  <a:gd name="T5" fmla="*/ 59 h 100"/>
                  <a:gd name="T6" fmla="*/ 37 w 84"/>
                  <a:gd name="T7" fmla="*/ 62 h 100"/>
                  <a:gd name="T8" fmla="*/ 45 w 84"/>
                  <a:gd name="T9" fmla="*/ 77 h 100"/>
                  <a:gd name="T10" fmla="*/ 64 w 84"/>
                  <a:gd name="T11" fmla="*/ 19 h 100"/>
                  <a:gd name="T12" fmla="*/ 66 w 84"/>
                  <a:gd name="T13" fmla="*/ 20 h 100"/>
                  <a:gd name="T14" fmla="*/ 60 w 84"/>
                  <a:gd name="T15" fmla="*/ 32 h 100"/>
                  <a:gd name="T16" fmla="*/ 52 w 84"/>
                  <a:gd name="T17" fmla="*/ 24 h 100"/>
                  <a:gd name="T18" fmla="*/ 64 w 84"/>
                  <a:gd name="T19" fmla="*/ 19 h 100"/>
                  <a:gd name="T20" fmla="*/ 72 w 84"/>
                  <a:gd name="T21" fmla="*/ 6 h 100"/>
                  <a:gd name="T22" fmla="*/ 78 w 84"/>
                  <a:gd name="T23" fmla="*/ 11 h 100"/>
                  <a:gd name="T24" fmla="*/ 72 w 84"/>
                  <a:gd name="T25" fmla="*/ 17 h 100"/>
                  <a:gd name="T26" fmla="*/ 67 w 84"/>
                  <a:gd name="T27" fmla="*/ 11 h 100"/>
                  <a:gd name="T28" fmla="*/ 72 w 84"/>
                  <a:gd name="T29" fmla="*/ 6 h 100"/>
                  <a:gd name="T30" fmla="*/ 84 w 84"/>
                  <a:gd name="T31" fmla="*/ 56 h 100"/>
                  <a:gd name="T32" fmla="*/ 64 w 84"/>
                  <a:gd name="T33" fmla="*/ 37 h 100"/>
                  <a:gd name="T34" fmla="*/ 71 w 84"/>
                  <a:gd name="T35" fmla="*/ 22 h 100"/>
                  <a:gd name="T36" fmla="*/ 83 w 84"/>
                  <a:gd name="T37" fmla="*/ 11 h 100"/>
                  <a:gd name="T38" fmla="*/ 73 w 84"/>
                  <a:gd name="T39" fmla="*/ 0 h 100"/>
                  <a:gd name="T40" fmla="*/ 62 w 84"/>
                  <a:gd name="T41" fmla="*/ 13 h 100"/>
                  <a:gd name="T42" fmla="*/ 47 w 84"/>
                  <a:gd name="T43" fmla="*/ 20 h 100"/>
                  <a:gd name="T44" fmla="*/ 27 w 84"/>
                  <a:gd name="T45" fmla="*/ 0 h 100"/>
                  <a:gd name="T46" fmla="*/ 28 w 84"/>
                  <a:gd name="T47" fmla="*/ 55 h 100"/>
                  <a:gd name="T48" fmla="*/ 16 w 84"/>
                  <a:gd name="T49" fmla="*/ 76 h 100"/>
                  <a:gd name="T50" fmla="*/ 6 w 84"/>
                  <a:gd name="T51" fmla="*/ 76 h 100"/>
                  <a:gd name="T52" fmla="*/ 0 w 84"/>
                  <a:gd name="T53" fmla="*/ 82 h 100"/>
                  <a:gd name="T54" fmla="*/ 0 w 84"/>
                  <a:gd name="T55" fmla="*/ 94 h 100"/>
                  <a:gd name="T56" fmla="*/ 6 w 84"/>
                  <a:gd name="T57" fmla="*/ 100 h 100"/>
                  <a:gd name="T58" fmla="*/ 61 w 84"/>
                  <a:gd name="T59" fmla="*/ 100 h 100"/>
                  <a:gd name="T60" fmla="*/ 67 w 84"/>
                  <a:gd name="T61" fmla="*/ 94 h 100"/>
                  <a:gd name="T62" fmla="*/ 67 w 84"/>
                  <a:gd name="T63" fmla="*/ 82 h 100"/>
                  <a:gd name="T64" fmla="*/ 61 w 84"/>
                  <a:gd name="T65" fmla="*/ 77 h 100"/>
                  <a:gd name="T66" fmla="*/ 51 w 84"/>
                  <a:gd name="T67" fmla="*/ 77 h 100"/>
                  <a:gd name="T68" fmla="*/ 45 w 84"/>
                  <a:gd name="T69" fmla="*/ 66 h 100"/>
                  <a:gd name="T70" fmla="*/ 84 w 84"/>
                  <a:gd name="T71" fmla="*/ 5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0">
                    <a:moveTo>
                      <a:pt x="45" y="77"/>
                    </a:moveTo>
                    <a:cubicBezTo>
                      <a:pt x="22" y="77"/>
                      <a:pt x="22" y="77"/>
                      <a:pt x="22" y="77"/>
                    </a:cubicBezTo>
                    <a:cubicBezTo>
                      <a:pt x="32" y="59"/>
                      <a:pt x="32" y="59"/>
                      <a:pt x="32" y="59"/>
                    </a:cubicBezTo>
                    <a:cubicBezTo>
                      <a:pt x="34" y="60"/>
                      <a:pt x="35" y="61"/>
                      <a:pt x="37" y="62"/>
                    </a:cubicBezTo>
                    <a:lnTo>
                      <a:pt x="45" y="77"/>
                    </a:lnTo>
                    <a:close/>
                    <a:moveTo>
                      <a:pt x="64" y="19"/>
                    </a:moveTo>
                    <a:cubicBezTo>
                      <a:pt x="65" y="19"/>
                      <a:pt x="65" y="19"/>
                      <a:pt x="66" y="20"/>
                    </a:cubicBezTo>
                    <a:cubicBezTo>
                      <a:pt x="60" y="32"/>
                      <a:pt x="60" y="32"/>
                      <a:pt x="60" y="32"/>
                    </a:cubicBezTo>
                    <a:cubicBezTo>
                      <a:pt x="52" y="24"/>
                      <a:pt x="52" y="24"/>
                      <a:pt x="52" y="24"/>
                    </a:cubicBezTo>
                    <a:lnTo>
                      <a:pt x="64" y="19"/>
                    </a:lnTo>
                    <a:close/>
                    <a:moveTo>
                      <a:pt x="72" y="6"/>
                    </a:moveTo>
                    <a:cubicBezTo>
                      <a:pt x="75" y="6"/>
                      <a:pt x="78" y="9"/>
                      <a:pt x="78" y="11"/>
                    </a:cubicBezTo>
                    <a:cubicBezTo>
                      <a:pt x="78" y="14"/>
                      <a:pt x="75" y="17"/>
                      <a:pt x="72" y="17"/>
                    </a:cubicBezTo>
                    <a:cubicBezTo>
                      <a:pt x="70" y="17"/>
                      <a:pt x="67" y="14"/>
                      <a:pt x="67" y="11"/>
                    </a:cubicBezTo>
                    <a:cubicBezTo>
                      <a:pt x="67" y="9"/>
                      <a:pt x="70" y="6"/>
                      <a:pt x="72" y="6"/>
                    </a:cubicBezTo>
                    <a:moveTo>
                      <a:pt x="84" y="56"/>
                    </a:moveTo>
                    <a:cubicBezTo>
                      <a:pt x="64" y="37"/>
                      <a:pt x="64" y="37"/>
                      <a:pt x="64" y="37"/>
                    </a:cubicBezTo>
                    <a:cubicBezTo>
                      <a:pt x="71" y="22"/>
                      <a:pt x="71" y="22"/>
                      <a:pt x="71" y="22"/>
                    </a:cubicBezTo>
                    <a:cubicBezTo>
                      <a:pt x="77" y="23"/>
                      <a:pt x="83" y="18"/>
                      <a:pt x="83" y="11"/>
                    </a:cubicBezTo>
                    <a:cubicBezTo>
                      <a:pt x="83" y="5"/>
                      <a:pt x="79" y="0"/>
                      <a:pt x="73" y="0"/>
                    </a:cubicBezTo>
                    <a:cubicBezTo>
                      <a:pt x="66" y="0"/>
                      <a:pt x="61" y="7"/>
                      <a:pt x="62" y="13"/>
                    </a:cubicBezTo>
                    <a:cubicBezTo>
                      <a:pt x="47" y="20"/>
                      <a:pt x="47" y="20"/>
                      <a:pt x="47" y="20"/>
                    </a:cubicBezTo>
                    <a:cubicBezTo>
                      <a:pt x="27" y="0"/>
                      <a:pt x="27" y="0"/>
                      <a:pt x="27" y="0"/>
                    </a:cubicBezTo>
                    <a:cubicBezTo>
                      <a:pt x="13" y="16"/>
                      <a:pt x="13" y="40"/>
                      <a:pt x="28" y="55"/>
                    </a:cubicBezTo>
                    <a:cubicBezTo>
                      <a:pt x="16" y="76"/>
                      <a:pt x="16" y="76"/>
                      <a:pt x="16" y="76"/>
                    </a:cubicBezTo>
                    <a:cubicBezTo>
                      <a:pt x="6" y="76"/>
                      <a:pt x="6" y="76"/>
                      <a:pt x="6" y="76"/>
                    </a:cubicBezTo>
                    <a:cubicBezTo>
                      <a:pt x="3" y="76"/>
                      <a:pt x="0" y="79"/>
                      <a:pt x="0" y="82"/>
                    </a:cubicBezTo>
                    <a:cubicBezTo>
                      <a:pt x="0" y="94"/>
                      <a:pt x="0" y="94"/>
                      <a:pt x="0" y="94"/>
                    </a:cubicBezTo>
                    <a:cubicBezTo>
                      <a:pt x="0" y="97"/>
                      <a:pt x="3" y="100"/>
                      <a:pt x="6" y="100"/>
                    </a:cubicBezTo>
                    <a:cubicBezTo>
                      <a:pt x="61" y="100"/>
                      <a:pt x="61" y="100"/>
                      <a:pt x="61" y="100"/>
                    </a:cubicBezTo>
                    <a:cubicBezTo>
                      <a:pt x="64" y="100"/>
                      <a:pt x="67" y="97"/>
                      <a:pt x="67" y="94"/>
                    </a:cubicBezTo>
                    <a:cubicBezTo>
                      <a:pt x="67" y="82"/>
                      <a:pt x="67" y="82"/>
                      <a:pt x="67" y="82"/>
                    </a:cubicBezTo>
                    <a:cubicBezTo>
                      <a:pt x="67" y="79"/>
                      <a:pt x="64" y="77"/>
                      <a:pt x="61" y="77"/>
                    </a:cubicBezTo>
                    <a:cubicBezTo>
                      <a:pt x="51" y="77"/>
                      <a:pt x="51" y="77"/>
                      <a:pt x="51" y="77"/>
                    </a:cubicBezTo>
                    <a:cubicBezTo>
                      <a:pt x="45" y="66"/>
                      <a:pt x="45" y="66"/>
                      <a:pt x="45" y="66"/>
                    </a:cubicBezTo>
                    <a:cubicBezTo>
                      <a:pt x="58" y="70"/>
                      <a:pt x="73" y="67"/>
                      <a:pt x="84" y="56"/>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1" name="Freeform 31">
                <a:extLst>
                  <a:ext uri="{FF2B5EF4-FFF2-40B4-BE49-F238E27FC236}">
                    <a16:creationId xmlns:a16="http://schemas.microsoft.com/office/drawing/2014/main" id="{7C1D5261-C17E-4939-B7E1-B36B14F8D06D}"/>
                  </a:ext>
                </a:extLst>
              </p:cNvPr>
              <p:cNvSpPr>
                <a:spLocks/>
              </p:cNvSpPr>
              <p:nvPr/>
            </p:nvSpPr>
            <p:spPr bwMode="auto">
              <a:xfrm>
                <a:off x="1284288" y="869950"/>
                <a:ext cx="176213" cy="173037"/>
              </a:xfrm>
              <a:custGeom>
                <a:avLst/>
                <a:gdLst>
                  <a:gd name="T0" fmla="*/ 2 w 47"/>
                  <a:gd name="T1" fmla="*/ 0 h 46"/>
                  <a:gd name="T2" fmla="*/ 0 w 47"/>
                  <a:gd name="T3" fmla="*/ 3 h 46"/>
                  <a:gd name="T4" fmla="*/ 2 w 47"/>
                  <a:gd name="T5" fmla="*/ 5 h 46"/>
                  <a:gd name="T6" fmla="*/ 41 w 47"/>
                  <a:gd name="T7" fmla="*/ 44 h 46"/>
                  <a:gd name="T8" fmla="*/ 44 w 47"/>
                  <a:gd name="T9" fmla="*/ 46 h 46"/>
                  <a:gd name="T10" fmla="*/ 46 w 47"/>
                  <a:gd name="T11" fmla="*/ 44 h 46"/>
                  <a:gd name="T12" fmla="*/ 2 w 47"/>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7" h="46">
                    <a:moveTo>
                      <a:pt x="2" y="0"/>
                    </a:moveTo>
                    <a:cubicBezTo>
                      <a:pt x="1" y="0"/>
                      <a:pt x="0" y="1"/>
                      <a:pt x="0" y="3"/>
                    </a:cubicBezTo>
                    <a:cubicBezTo>
                      <a:pt x="0" y="4"/>
                      <a:pt x="1" y="5"/>
                      <a:pt x="2" y="5"/>
                    </a:cubicBezTo>
                    <a:cubicBezTo>
                      <a:pt x="24" y="5"/>
                      <a:pt x="41" y="23"/>
                      <a:pt x="41" y="44"/>
                    </a:cubicBezTo>
                    <a:cubicBezTo>
                      <a:pt x="41" y="45"/>
                      <a:pt x="42" y="46"/>
                      <a:pt x="44" y="46"/>
                    </a:cubicBezTo>
                    <a:cubicBezTo>
                      <a:pt x="45" y="46"/>
                      <a:pt x="46" y="45"/>
                      <a:pt x="46" y="44"/>
                    </a:cubicBezTo>
                    <a:cubicBezTo>
                      <a:pt x="47" y="19"/>
                      <a:pt x="27"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2" name="Freeform 32">
                <a:extLst>
                  <a:ext uri="{FF2B5EF4-FFF2-40B4-BE49-F238E27FC236}">
                    <a16:creationId xmlns:a16="http://schemas.microsoft.com/office/drawing/2014/main" id="{DE44F1D2-D2C3-4027-BB9A-01686D333F5B}"/>
                  </a:ext>
                </a:extLst>
              </p:cNvPr>
              <p:cNvSpPr>
                <a:spLocks/>
              </p:cNvSpPr>
              <p:nvPr/>
            </p:nvSpPr>
            <p:spPr bwMode="auto">
              <a:xfrm>
                <a:off x="1284288" y="911225"/>
                <a:ext cx="134938" cy="131762"/>
              </a:xfrm>
              <a:custGeom>
                <a:avLst/>
                <a:gdLst>
                  <a:gd name="T0" fmla="*/ 2 w 36"/>
                  <a:gd name="T1" fmla="*/ 0 h 35"/>
                  <a:gd name="T2" fmla="*/ 0 w 36"/>
                  <a:gd name="T3" fmla="*/ 2 h 35"/>
                  <a:gd name="T4" fmla="*/ 2 w 36"/>
                  <a:gd name="T5" fmla="*/ 5 h 35"/>
                  <a:gd name="T6" fmla="*/ 30 w 36"/>
                  <a:gd name="T7" fmla="*/ 33 h 35"/>
                  <a:gd name="T8" fmla="*/ 33 w 36"/>
                  <a:gd name="T9" fmla="*/ 35 h 35"/>
                  <a:gd name="T10" fmla="*/ 35 w 36"/>
                  <a:gd name="T11" fmla="*/ 33 h 35"/>
                  <a:gd name="T12" fmla="*/ 2 w 36"/>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36" h="35">
                    <a:moveTo>
                      <a:pt x="2" y="0"/>
                    </a:moveTo>
                    <a:cubicBezTo>
                      <a:pt x="1" y="0"/>
                      <a:pt x="0" y="1"/>
                      <a:pt x="0" y="2"/>
                    </a:cubicBezTo>
                    <a:cubicBezTo>
                      <a:pt x="0" y="4"/>
                      <a:pt x="1" y="5"/>
                      <a:pt x="2" y="5"/>
                    </a:cubicBezTo>
                    <a:cubicBezTo>
                      <a:pt x="18" y="5"/>
                      <a:pt x="30" y="18"/>
                      <a:pt x="30" y="33"/>
                    </a:cubicBezTo>
                    <a:cubicBezTo>
                      <a:pt x="30" y="34"/>
                      <a:pt x="31" y="35"/>
                      <a:pt x="33" y="35"/>
                    </a:cubicBezTo>
                    <a:cubicBezTo>
                      <a:pt x="34" y="35"/>
                      <a:pt x="35" y="34"/>
                      <a:pt x="35" y="33"/>
                    </a:cubicBezTo>
                    <a:cubicBezTo>
                      <a:pt x="36" y="15"/>
                      <a:pt x="21"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3" name="Freeform 33">
                <a:extLst>
                  <a:ext uri="{FF2B5EF4-FFF2-40B4-BE49-F238E27FC236}">
                    <a16:creationId xmlns:a16="http://schemas.microsoft.com/office/drawing/2014/main" id="{67A749BD-739E-4B3B-B378-9A70F51D2B4E}"/>
                  </a:ext>
                </a:extLst>
              </p:cNvPr>
              <p:cNvSpPr>
                <a:spLocks/>
              </p:cNvSpPr>
              <p:nvPr/>
            </p:nvSpPr>
            <p:spPr bwMode="auto">
              <a:xfrm>
                <a:off x="1284288" y="954088"/>
                <a:ext cx="93663" cy="88900"/>
              </a:xfrm>
              <a:custGeom>
                <a:avLst/>
                <a:gdLst>
                  <a:gd name="T0" fmla="*/ 2 w 25"/>
                  <a:gd name="T1" fmla="*/ 0 h 24"/>
                  <a:gd name="T2" fmla="*/ 0 w 25"/>
                  <a:gd name="T3" fmla="*/ 2 h 24"/>
                  <a:gd name="T4" fmla="*/ 2 w 25"/>
                  <a:gd name="T5" fmla="*/ 5 h 24"/>
                  <a:gd name="T6" fmla="*/ 19 w 25"/>
                  <a:gd name="T7" fmla="*/ 22 h 24"/>
                  <a:gd name="T8" fmla="*/ 22 w 25"/>
                  <a:gd name="T9" fmla="*/ 24 h 24"/>
                  <a:gd name="T10" fmla="*/ 24 w 25"/>
                  <a:gd name="T11" fmla="*/ 22 h 24"/>
                  <a:gd name="T12" fmla="*/ 2 w 25"/>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2" y="0"/>
                    </a:moveTo>
                    <a:cubicBezTo>
                      <a:pt x="1" y="0"/>
                      <a:pt x="0" y="1"/>
                      <a:pt x="0" y="2"/>
                    </a:cubicBezTo>
                    <a:cubicBezTo>
                      <a:pt x="0" y="4"/>
                      <a:pt x="1" y="5"/>
                      <a:pt x="2" y="5"/>
                    </a:cubicBezTo>
                    <a:cubicBezTo>
                      <a:pt x="12" y="5"/>
                      <a:pt x="19" y="13"/>
                      <a:pt x="19" y="22"/>
                    </a:cubicBezTo>
                    <a:cubicBezTo>
                      <a:pt x="19" y="23"/>
                      <a:pt x="20" y="24"/>
                      <a:pt x="22" y="24"/>
                    </a:cubicBezTo>
                    <a:cubicBezTo>
                      <a:pt x="23" y="24"/>
                      <a:pt x="24" y="23"/>
                      <a:pt x="24" y="22"/>
                    </a:cubicBezTo>
                    <a:cubicBezTo>
                      <a:pt x="25" y="10"/>
                      <a:pt x="15"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5" name="Group 4">
            <a:extLst>
              <a:ext uri="{FF2B5EF4-FFF2-40B4-BE49-F238E27FC236}">
                <a16:creationId xmlns:a16="http://schemas.microsoft.com/office/drawing/2014/main" id="{71FD4600-DC97-48FD-AC6B-F5947F538131}"/>
              </a:ext>
            </a:extLst>
          </p:cNvPr>
          <p:cNvGrpSpPr/>
          <p:nvPr/>
        </p:nvGrpSpPr>
        <p:grpSpPr>
          <a:xfrm>
            <a:off x="5693970" y="1674976"/>
            <a:ext cx="894610" cy="841552"/>
            <a:chOff x="5693970" y="1990602"/>
            <a:chExt cx="894610" cy="841552"/>
          </a:xfrm>
          <a:solidFill>
            <a:srgbClr val="12ABDB"/>
          </a:solidFill>
        </p:grpSpPr>
        <p:sp>
          <p:nvSpPr>
            <p:cNvPr id="55" name="Freeform 55">
              <a:extLst>
                <a:ext uri="{FF2B5EF4-FFF2-40B4-BE49-F238E27FC236}">
                  <a16:creationId xmlns:a16="http://schemas.microsoft.com/office/drawing/2014/main" id="{F2D03B96-8F15-4A08-80C5-25E572BEA1D9}"/>
                </a:ext>
              </a:extLst>
            </p:cNvPr>
            <p:cNvSpPr>
              <a:spLocks/>
            </p:cNvSpPr>
            <p:nvPr/>
          </p:nvSpPr>
          <p:spPr bwMode="auto">
            <a:xfrm>
              <a:off x="5693970" y="1990602"/>
              <a:ext cx="894610" cy="84155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29" y="208"/>
                    <a:pt x="15" y="147"/>
                  </a:cubicBezTo>
                </a:path>
              </a:pathLst>
            </a:custGeom>
            <a:grpFill/>
            <a:ln w="381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grpSp>
          <p:nvGrpSpPr>
            <p:cNvPr id="56" name="Groupe 660">
              <a:extLst>
                <a:ext uri="{FF2B5EF4-FFF2-40B4-BE49-F238E27FC236}">
                  <a16:creationId xmlns:a16="http://schemas.microsoft.com/office/drawing/2014/main" id="{0F2B1D28-43A8-4AF3-A30D-AC8E1CF44F8B}"/>
                </a:ext>
              </a:extLst>
            </p:cNvPr>
            <p:cNvGrpSpPr/>
            <p:nvPr/>
          </p:nvGrpSpPr>
          <p:grpSpPr>
            <a:xfrm>
              <a:off x="5885567" y="2186587"/>
              <a:ext cx="536472" cy="467202"/>
              <a:chOff x="5819775" y="882650"/>
              <a:chExt cx="577851" cy="503238"/>
            </a:xfrm>
            <a:grpFill/>
          </p:grpSpPr>
          <p:sp>
            <p:nvSpPr>
              <p:cNvPr id="57" name="Freeform 56">
                <a:extLst>
                  <a:ext uri="{FF2B5EF4-FFF2-40B4-BE49-F238E27FC236}">
                    <a16:creationId xmlns:a16="http://schemas.microsoft.com/office/drawing/2014/main" id="{33F247FB-6F6A-4D84-B501-1D152BB7ECD0}"/>
                  </a:ext>
                </a:extLst>
              </p:cNvPr>
              <p:cNvSpPr>
                <a:spLocks noEditPoints="1"/>
              </p:cNvSpPr>
              <p:nvPr/>
            </p:nvSpPr>
            <p:spPr bwMode="auto">
              <a:xfrm>
                <a:off x="5819775" y="882650"/>
                <a:ext cx="396875" cy="420687"/>
              </a:xfrm>
              <a:custGeom>
                <a:avLst/>
                <a:gdLst>
                  <a:gd name="T0" fmla="*/ 48 w 106"/>
                  <a:gd name="T1" fmla="*/ 46 h 112"/>
                  <a:gd name="T2" fmla="*/ 56 w 106"/>
                  <a:gd name="T3" fmla="*/ 35 h 112"/>
                  <a:gd name="T4" fmla="*/ 67 w 106"/>
                  <a:gd name="T5" fmla="*/ 39 h 112"/>
                  <a:gd name="T6" fmla="*/ 48 w 106"/>
                  <a:gd name="T7" fmla="*/ 46 h 112"/>
                  <a:gd name="T8" fmla="*/ 50 w 106"/>
                  <a:gd name="T9" fmla="*/ 87 h 112"/>
                  <a:gd name="T10" fmla="*/ 27 w 106"/>
                  <a:gd name="T11" fmla="*/ 74 h 112"/>
                  <a:gd name="T12" fmla="*/ 66 w 106"/>
                  <a:gd name="T13" fmla="*/ 67 h 112"/>
                  <a:gd name="T14" fmla="*/ 50 w 106"/>
                  <a:gd name="T15" fmla="*/ 87 h 112"/>
                  <a:gd name="T16" fmla="*/ 17 w 106"/>
                  <a:gd name="T17" fmla="*/ 50 h 112"/>
                  <a:gd name="T18" fmla="*/ 24 w 106"/>
                  <a:gd name="T19" fmla="*/ 42 h 112"/>
                  <a:gd name="T20" fmla="*/ 36 w 106"/>
                  <a:gd name="T21" fmla="*/ 47 h 112"/>
                  <a:gd name="T22" fmla="*/ 17 w 106"/>
                  <a:gd name="T23" fmla="*/ 50 h 112"/>
                  <a:gd name="T24" fmla="*/ 71 w 106"/>
                  <a:gd name="T25" fmla="*/ 5 h 112"/>
                  <a:gd name="T26" fmla="*/ 58 w 106"/>
                  <a:gd name="T27" fmla="*/ 9 h 112"/>
                  <a:gd name="T28" fmla="*/ 10 w 106"/>
                  <a:gd name="T29" fmla="*/ 16 h 112"/>
                  <a:gd name="T30" fmla="*/ 0 w 106"/>
                  <a:gd name="T31" fmla="*/ 20 h 112"/>
                  <a:gd name="T32" fmla="*/ 53 w 106"/>
                  <a:gd name="T33" fmla="*/ 104 h 112"/>
                  <a:gd name="T34" fmla="*/ 71 w 106"/>
                  <a:gd name="T3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12">
                    <a:moveTo>
                      <a:pt x="48" y="46"/>
                    </a:moveTo>
                    <a:cubicBezTo>
                      <a:pt x="48" y="46"/>
                      <a:pt x="47" y="37"/>
                      <a:pt x="56" y="35"/>
                    </a:cubicBezTo>
                    <a:cubicBezTo>
                      <a:pt x="56" y="35"/>
                      <a:pt x="62" y="33"/>
                      <a:pt x="67" y="39"/>
                    </a:cubicBezTo>
                    <a:cubicBezTo>
                      <a:pt x="67" y="39"/>
                      <a:pt x="57" y="54"/>
                      <a:pt x="48" y="46"/>
                    </a:cubicBezTo>
                    <a:moveTo>
                      <a:pt x="50" y="87"/>
                    </a:moveTo>
                    <a:cubicBezTo>
                      <a:pt x="36" y="90"/>
                      <a:pt x="27" y="74"/>
                      <a:pt x="27" y="74"/>
                    </a:cubicBezTo>
                    <a:cubicBezTo>
                      <a:pt x="51" y="85"/>
                      <a:pt x="66" y="67"/>
                      <a:pt x="66" y="67"/>
                    </a:cubicBezTo>
                    <a:cubicBezTo>
                      <a:pt x="66" y="67"/>
                      <a:pt x="64" y="83"/>
                      <a:pt x="50" y="87"/>
                    </a:cubicBezTo>
                    <a:moveTo>
                      <a:pt x="17" y="50"/>
                    </a:moveTo>
                    <a:cubicBezTo>
                      <a:pt x="18" y="43"/>
                      <a:pt x="24" y="42"/>
                      <a:pt x="24" y="42"/>
                    </a:cubicBezTo>
                    <a:cubicBezTo>
                      <a:pt x="33" y="39"/>
                      <a:pt x="36" y="47"/>
                      <a:pt x="36" y="47"/>
                    </a:cubicBezTo>
                    <a:cubicBezTo>
                      <a:pt x="32" y="58"/>
                      <a:pt x="17" y="50"/>
                      <a:pt x="17" y="50"/>
                    </a:cubicBezTo>
                    <a:moveTo>
                      <a:pt x="71" y="5"/>
                    </a:moveTo>
                    <a:cubicBezTo>
                      <a:pt x="69" y="0"/>
                      <a:pt x="63" y="3"/>
                      <a:pt x="58" y="9"/>
                    </a:cubicBezTo>
                    <a:cubicBezTo>
                      <a:pt x="49" y="19"/>
                      <a:pt x="21" y="21"/>
                      <a:pt x="10" y="16"/>
                    </a:cubicBezTo>
                    <a:cubicBezTo>
                      <a:pt x="0" y="11"/>
                      <a:pt x="0" y="20"/>
                      <a:pt x="0" y="20"/>
                    </a:cubicBezTo>
                    <a:cubicBezTo>
                      <a:pt x="0" y="112"/>
                      <a:pt x="53" y="104"/>
                      <a:pt x="53" y="104"/>
                    </a:cubicBezTo>
                    <a:cubicBezTo>
                      <a:pt x="106" y="86"/>
                      <a:pt x="71" y="5"/>
                      <a:pt x="71" y="5"/>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58" name="Freeform 57">
                <a:extLst>
                  <a:ext uri="{FF2B5EF4-FFF2-40B4-BE49-F238E27FC236}">
                    <a16:creationId xmlns:a16="http://schemas.microsoft.com/office/drawing/2014/main" id="{EEEC625A-FA89-4F95-806F-DE2FB8C0558A}"/>
                  </a:ext>
                </a:extLst>
              </p:cNvPr>
              <p:cNvSpPr>
                <a:spLocks/>
              </p:cNvSpPr>
              <p:nvPr/>
            </p:nvSpPr>
            <p:spPr bwMode="auto">
              <a:xfrm>
                <a:off x="6075363" y="998538"/>
                <a:ext cx="322263" cy="387350"/>
              </a:xfrm>
              <a:custGeom>
                <a:avLst/>
                <a:gdLst>
                  <a:gd name="T0" fmla="*/ 14 w 86"/>
                  <a:gd name="T1" fmla="*/ 96 h 103"/>
                  <a:gd name="T2" fmla="*/ 27 w 86"/>
                  <a:gd name="T3" fmla="*/ 102 h 103"/>
                  <a:gd name="T4" fmla="*/ 40 w 86"/>
                  <a:gd name="T5" fmla="*/ 102 h 103"/>
                  <a:gd name="T6" fmla="*/ 73 w 86"/>
                  <a:gd name="T7" fmla="*/ 73 h 103"/>
                  <a:gd name="T8" fmla="*/ 85 w 86"/>
                  <a:gd name="T9" fmla="*/ 23 h 103"/>
                  <a:gd name="T10" fmla="*/ 69 w 86"/>
                  <a:gd name="T11" fmla="*/ 10 h 103"/>
                  <a:gd name="T12" fmla="*/ 67 w 86"/>
                  <a:gd name="T13" fmla="*/ 11 h 103"/>
                  <a:gd name="T14" fmla="*/ 65 w 86"/>
                  <a:gd name="T15" fmla="*/ 12 h 103"/>
                  <a:gd name="T16" fmla="*/ 63 w 86"/>
                  <a:gd name="T17" fmla="*/ 12 h 103"/>
                  <a:gd name="T18" fmla="*/ 61 w 86"/>
                  <a:gd name="T19" fmla="*/ 12 h 103"/>
                  <a:gd name="T20" fmla="*/ 53 w 86"/>
                  <a:gd name="T21" fmla="*/ 12 h 103"/>
                  <a:gd name="T22" fmla="*/ 52 w 86"/>
                  <a:gd name="T23" fmla="*/ 12 h 103"/>
                  <a:gd name="T24" fmla="*/ 40 w 86"/>
                  <a:gd name="T25" fmla="*/ 9 h 103"/>
                  <a:gd name="T26" fmla="*/ 37 w 86"/>
                  <a:gd name="T27" fmla="*/ 8 h 103"/>
                  <a:gd name="T28" fmla="*/ 36 w 86"/>
                  <a:gd name="T29" fmla="*/ 8 h 103"/>
                  <a:gd name="T30" fmla="*/ 28 w 86"/>
                  <a:gd name="T31" fmla="*/ 4 h 103"/>
                  <a:gd name="T32" fmla="*/ 28 w 86"/>
                  <a:gd name="T33" fmla="*/ 3 h 103"/>
                  <a:gd name="T34" fmla="*/ 26 w 86"/>
                  <a:gd name="T35" fmla="*/ 2 h 103"/>
                  <a:gd name="T36" fmla="*/ 21 w 86"/>
                  <a:gd name="T37" fmla="*/ 7 h 103"/>
                  <a:gd name="T38" fmla="*/ 39 w 86"/>
                  <a:gd name="T39" fmla="*/ 16 h 103"/>
                  <a:gd name="T40" fmla="*/ 67 w 86"/>
                  <a:gd name="T41" fmla="*/ 18 h 103"/>
                  <a:gd name="T42" fmla="*/ 70 w 86"/>
                  <a:gd name="T43" fmla="*/ 17 h 103"/>
                  <a:gd name="T44" fmla="*/ 72 w 86"/>
                  <a:gd name="T45" fmla="*/ 17 h 103"/>
                  <a:gd name="T46" fmla="*/ 75 w 86"/>
                  <a:gd name="T47" fmla="*/ 16 h 103"/>
                  <a:gd name="T48" fmla="*/ 76 w 86"/>
                  <a:gd name="T49" fmla="*/ 16 h 103"/>
                  <a:gd name="T50" fmla="*/ 77 w 86"/>
                  <a:gd name="T51" fmla="*/ 16 h 103"/>
                  <a:gd name="T52" fmla="*/ 77 w 86"/>
                  <a:gd name="T53" fmla="*/ 16 h 103"/>
                  <a:gd name="T54" fmla="*/ 77 w 86"/>
                  <a:gd name="T55" fmla="*/ 16 h 103"/>
                  <a:gd name="T56" fmla="*/ 78 w 86"/>
                  <a:gd name="T57" fmla="*/ 16 h 103"/>
                  <a:gd name="T58" fmla="*/ 78 w 86"/>
                  <a:gd name="T59" fmla="*/ 18 h 103"/>
                  <a:gd name="T60" fmla="*/ 78 w 86"/>
                  <a:gd name="T61" fmla="*/ 19 h 103"/>
                  <a:gd name="T62" fmla="*/ 77 w 86"/>
                  <a:gd name="T63" fmla="*/ 33 h 103"/>
                  <a:gd name="T64" fmla="*/ 77 w 86"/>
                  <a:gd name="T65" fmla="*/ 34 h 103"/>
                  <a:gd name="T66" fmla="*/ 76 w 86"/>
                  <a:gd name="T67" fmla="*/ 39 h 103"/>
                  <a:gd name="T68" fmla="*/ 71 w 86"/>
                  <a:gd name="T69" fmla="*/ 59 h 103"/>
                  <a:gd name="T70" fmla="*/ 68 w 86"/>
                  <a:gd name="T71" fmla="*/ 66 h 103"/>
                  <a:gd name="T72" fmla="*/ 68 w 86"/>
                  <a:gd name="T73" fmla="*/ 67 h 103"/>
                  <a:gd name="T74" fmla="*/ 66 w 86"/>
                  <a:gd name="T75" fmla="*/ 72 h 103"/>
                  <a:gd name="T76" fmla="*/ 60 w 86"/>
                  <a:gd name="T77" fmla="*/ 81 h 103"/>
                  <a:gd name="T78" fmla="*/ 60 w 86"/>
                  <a:gd name="T79" fmla="*/ 81 h 103"/>
                  <a:gd name="T80" fmla="*/ 58 w 86"/>
                  <a:gd name="T81" fmla="*/ 83 h 103"/>
                  <a:gd name="T82" fmla="*/ 52 w 86"/>
                  <a:gd name="T83" fmla="*/ 88 h 103"/>
                  <a:gd name="T84" fmla="*/ 52 w 86"/>
                  <a:gd name="T85" fmla="*/ 88 h 103"/>
                  <a:gd name="T86" fmla="*/ 48 w 86"/>
                  <a:gd name="T87" fmla="*/ 91 h 103"/>
                  <a:gd name="T88" fmla="*/ 44 w 86"/>
                  <a:gd name="T89" fmla="*/ 93 h 103"/>
                  <a:gd name="T90" fmla="*/ 42 w 86"/>
                  <a:gd name="T91" fmla="*/ 94 h 103"/>
                  <a:gd name="T92" fmla="*/ 36 w 86"/>
                  <a:gd name="T93" fmla="*/ 95 h 103"/>
                  <a:gd name="T94" fmla="*/ 36 w 86"/>
                  <a:gd name="T95" fmla="*/ 95 h 103"/>
                  <a:gd name="T96" fmla="*/ 31 w 86"/>
                  <a:gd name="T97" fmla="*/ 96 h 103"/>
                  <a:gd name="T98" fmla="*/ 28 w 86"/>
                  <a:gd name="T99" fmla="*/ 95 h 103"/>
                  <a:gd name="T100" fmla="*/ 28 w 86"/>
                  <a:gd name="T101" fmla="*/ 96 h 103"/>
                  <a:gd name="T102" fmla="*/ 26 w 86"/>
                  <a:gd name="T103" fmla="*/ 95 h 103"/>
                  <a:gd name="T104" fmla="*/ 26 w 86"/>
                  <a:gd name="T105" fmla="*/ 95 h 103"/>
                  <a:gd name="T106" fmla="*/ 19 w 86"/>
                  <a:gd name="T107" fmla="*/ 91 h 103"/>
                  <a:gd name="T108" fmla="*/ 19 w 86"/>
                  <a:gd name="T109" fmla="*/ 90 h 103"/>
                  <a:gd name="T110" fmla="*/ 14 w 86"/>
                  <a:gd name="T111" fmla="*/ 86 h 103"/>
                  <a:gd name="T112" fmla="*/ 12 w 86"/>
                  <a:gd name="T113" fmla="*/ 84 h 103"/>
                  <a:gd name="T114" fmla="*/ 11 w 86"/>
                  <a:gd name="T115" fmla="*/ 81 h 103"/>
                  <a:gd name="T116" fmla="*/ 8 w 86"/>
                  <a:gd name="T117" fmla="*/ 76 h 103"/>
                  <a:gd name="T118" fmla="*/ 7 w 86"/>
                  <a:gd name="T119" fmla="*/ 75 h 103"/>
                  <a:gd name="T120" fmla="*/ 0 w 86"/>
                  <a:gd name="T121" fmla="*/ 7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103">
                    <a:moveTo>
                      <a:pt x="0" y="77"/>
                    </a:moveTo>
                    <a:cubicBezTo>
                      <a:pt x="3" y="84"/>
                      <a:pt x="8" y="91"/>
                      <a:pt x="14" y="96"/>
                    </a:cubicBezTo>
                    <a:cubicBezTo>
                      <a:pt x="17" y="98"/>
                      <a:pt x="21" y="101"/>
                      <a:pt x="25" y="102"/>
                    </a:cubicBezTo>
                    <a:cubicBezTo>
                      <a:pt x="26" y="102"/>
                      <a:pt x="26" y="102"/>
                      <a:pt x="27" y="102"/>
                    </a:cubicBezTo>
                    <a:cubicBezTo>
                      <a:pt x="28" y="103"/>
                      <a:pt x="30" y="103"/>
                      <a:pt x="31" y="103"/>
                    </a:cubicBezTo>
                    <a:cubicBezTo>
                      <a:pt x="34" y="103"/>
                      <a:pt x="37" y="102"/>
                      <a:pt x="40" y="102"/>
                    </a:cubicBezTo>
                    <a:cubicBezTo>
                      <a:pt x="45" y="101"/>
                      <a:pt x="50" y="99"/>
                      <a:pt x="54" y="96"/>
                    </a:cubicBezTo>
                    <a:cubicBezTo>
                      <a:pt x="63" y="90"/>
                      <a:pt x="69" y="82"/>
                      <a:pt x="73" y="73"/>
                    </a:cubicBezTo>
                    <a:cubicBezTo>
                      <a:pt x="77" y="64"/>
                      <a:pt x="80" y="54"/>
                      <a:pt x="82" y="45"/>
                    </a:cubicBezTo>
                    <a:cubicBezTo>
                      <a:pt x="83" y="38"/>
                      <a:pt x="84" y="31"/>
                      <a:pt x="85" y="23"/>
                    </a:cubicBezTo>
                    <a:cubicBezTo>
                      <a:pt x="85" y="19"/>
                      <a:pt x="86" y="12"/>
                      <a:pt x="81" y="10"/>
                    </a:cubicBezTo>
                    <a:cubicBezTo>
                      <a:pt x="77" y="8"/>
                      <a:pt x="73" y="9"/>
                      <a:pt x="69" y="10"/>
                    </a:cubicBezTo>
                    <a:cubicBezTo>
                      <a:pt x="69" y="10"/>
                      <a:pt x="68" y="11"/>
                      <a:pt x="67" y="11"/>
                    </a:cubicBezTo>
                    <a:cubicBezTo>
                      <a:pt x="66" y="11"/>
                      <a:pt x="68" y="11"/>
                      <a:pt x="67" y="11"/>
                    </a:cubicBezTo>
                    <a:cubicBezTo>
                      <a:pt x="67" y="11"/>
                      <a:pt x="67" y="11"/>
                      <a:pt x="67" y="11"/>
                    </a:cubicBezTo>
                    <a:cubicBezTo>
                      <a:pt x="66" y="11"/>
                      <a:pt x="65" y="12"/>
                      <a:pt x="65" y="12"/>
                    </a:cubicBezTo>
                    <a:cubicBezTo>
                      <a:pt x="64" y="12"/>
                      <a:pt x="63" y="12"/>
                      <a:pt x="62" y="12"/>
                    </a:cubicBezTo>
                    <a:cubicBezTo>
                      <a:pt x="62" y="12"/>
                      <a:pt x="61" y="12"/>
                      <a:pt x="63" y="12"/>
                    </a:cubicBezTo>
                    <a:cubicBezTo>
                      <a:pt x="62" y="12"/>
                      <a:pt x="62" y="12"/>
                      <a:pt x="62" y="12"/>
                    </a:cubicBezTo>
                    <a:cubicBezTo>
                      <a:pt x="62" y="12"/>
                      <a:pt x="61" y="12"/>
                      <a:pt x="61" y="12"/>
                    </a:cubicBezTo>
                    <a:cubicBezTo>
                      <a:pt x="59" y="13"/>
                      <a:pt x="57" y="12"/>
                      <a:pt x="55" y="12"/>
                    </a:cubicBezTo>
                    <a:cubicBezTo>
                      <a:pt x="55" y="12"/>
                      <a:pt x="54" y="12"/>
                      <a:pt x="53" y="12"/>
                    </a:cubicBezTo>
                    <a:cubicBezTo>
                      <a:pt x="52" y="12"/>
                      <a:pt x="52" y="12"/>
                      <a:pt x="51" y="12"/>
                    </a:cubicBezTo>
                    <a:cubicBezTo>
                      <a:pt x="51" y="12"/>
                      <a:pt x="52" y="12"/>
                      <a:pt x="52" y="12"/>
                    </a:cubicBezTo>
                    <a:cubicBezTo>
                      <a:pt x="51" y="12"/>
                      <a:pt x="51" y="12"/>
                      <a:pt x="51" y="12"/>
                    </a:cubicBezTo>
                    <a:cubicBezTo>
                      <a:pt x="47" y="11"/>
                      <a:pt x="43" y="10"/>
                      <a:pt x="40" y="9"/>
                    </a:cubicBezTo>
                    <a:cubicBezTo>
                      <a:pt x="39" y="9"/>
                      <a:pt x="38" y="9"/>
                      <a:pt x="38" y="8"/>
                    </a:cubicBezTo>
                    <a:cubicBezTo>
                      <a:pt x="37" y="8"/>
                      <a:pt x="37" y="8"/>
                      <a:pt x="37" y="8"/>
                    </a:cubicBezTo>
                    <a:cubicBezTo>
                      <a:pt x="36" y="8"/>
                      <a:pt x="36" y="8"/>
                      <a:pt x="36" y="8"/>
                    </a:cubicBezTo>
                    <a:cubicBezTo>
                      <a:pt x="37" y="8"/>
                      <a:pt x="36" y="8"/>
                      <a:pt x="36" y="8"/>
                    </a:cubicBezTo>
                    <a:cubicBezTo>
                      <a:pt x="35" y="7"/>
                      <a:pt x="33" y="6"/>
                      <a:pt x="32" y="6"/>
                    </a:cubicBezTo>
                    <a:cubicBezTo>
                      <a:pt x="31" y="5"/>
                      <a:pt x="30" y="4"/>
                      <a:pt x="28" y="4"/>
                    </a:cubicBezTo>
                    <a:cubicBezTo>
                      <a:pt x="28" y="3"/>
                      <a:pt x="28" y="3"/>
                      <a:pt x="29" y="4"/>
                    </a:cubicBezTo>
                    <a:cubicBezTo>
                      <a:pt x="29" y="4"/>
                      <a:pt x="28" y="4"/>
                      <a:pt x="28" y="3"/>
                    </a:cubicBezTo>
                    <a:cubicBezTo>
                      <a:pt x="28" y="3"/>
                      <a:pt x="28" y="3"/>
                      <a:pt x="28" y="3"/>
                    </a:cubicBezTo>
                    <a:cubicBezTo>
                      <a:pt x="27" y="2"/>
                      <a:pt x="27" y="2"/>
                      <a:pt x="26" y="2"/>
                    </a:cubicBezTo>
                    <a:cubicBezTo>
                      <a:pt x="25" y="0"/>
                      <a:pt x="23" y="0"/>
                      <a:pt x="21" y="2"/>
                    </a:cubicBezTo>
                    <a:cubicBezTo>
                      <a:pt x="20" y="3"/>
                      <a:pt x="20" y="5"/>
                      <a:pt x="21" y="7"/>
                    </a:cubicBezTo>
                    <a:cubicBezTo>
                      <a:pt x="23" y="9"/>
                      <a:pt x="26" y="11"/>
                      <a:pt x="29" y="12"/>
                    </a:cubicBezTo>
                    <a:cubicBezTo>
                      <a:pt x="32" y="14"/>
                      <a:pt x="35" y="15"/>
                      <a:pt x="39" y="16"/>
                    </a:cubicBezTo>
                    <a:cubicBezTo>
                      <a:pt x="46" y="19"/>
                      <a:pt x="54" y="20"/>
                      <a:pt x="61" y="19"/>
                    </a:cubicBezTo>
                    <a:cubicBezTo>
                      <a:pt x="63" y="19"/>
                      <a:pt x="65" y="19"/>
                      <a:pt x="67" y="18"/>
                    </a:cubicBezTo>
                    <a:cubicBezTo>
                      <a:pt x="67" y="18"/>
                      <a:pt x="68" y="18"/>
                      <a:pt x="69" y="18"/>
                    </a:cubicBezTo>
                    <a:cubicBezTo>
                      <a:pt x="69" y="18"/>
                      <a:pt x="70" y="17"/>
                      <a:pt x="70" y="17"/>
                    </a:cubicBezTo>
                    <a:cubicBezTo>
                      <a:pt x="71" y="17"/>
                      <a:pt x="70" y="17"/>
                      <a:pt x="70" y="17"/>
                    </a:cubicBezTo>
                    <a:cubicBezTo>
                      <a:pt x="71" y="17"/>
                      <a:pt x="71" y="17"/>
                      <a:pt x="72" y="17"/>
                    </a:cubicBezTo>
                    <a:cubicBezTo>
                      <a:pt x="72" y="16"/>
                      <a:pt x="73" y="16"/>
                      <a:pt x="74" y="16"/>
                    </a:cubicBezTo>
                    <a:cubicBezTo>
                      <a:pt x="75" y="16"/>
                      <a:pt x="76" y="16"/>
                      <a:pt x="75" y="16"/>
                    </a:cubicBezTo>
                    <a:cubicBezTo>
                      <a:pt x="75" y="16"/>
                      <a:pt x="76" y="16"/>
                      <a:pt x="76" y="16"/>
                    </a:cubicBezTo>
                    <a:cubicBezTo>
                      <a:pt x="76" y="16"/>
                      <a:pt x="78" y="16"/>
                      <a:pt x="76" y="16"/>
                    </a:cubicBezTo>
                    <a:cubicBezTo>
                      <a:pt x="77" y="16"/>
                      <a:pt x="77" y="16"/>
                      <a:pt x="77" y="16"/>
                    </a:cubicBezTo>
                    <a:cubicBezTo>
                      <a:pt x="77" y="16"/>
                      <a:pt x="77" y="16"/>
                      <a:pt x="77" y="16"/>
                    </a:cubicBezTo>
                    <a:cubicBezTo>
                      <a:pt x="76" y="16"/>
                      <a:pt x="77" y="16"/>
                      <a:pt x="77" y="16"/>
                    </a:cubicBezTo>
                    <a:cubicBezTo>
                      <a:pt x="77" y="16"/>
                      <a:pt x="78" y="17"/>
                      <a:pt x="77" y="16"/>
                    </a:cubicBezTo>
                    <a:cubicBezTo>
                      <a:pt x="77" y="16"/>
                      <a:pt x="77" y="16"/>
                      <a:pt x="78" y="16"/>
                    </a:cubicBezTo>
                    <a:cubicBezTo>
                      <a:pt x="78" y="17"/>
                      <a:pt x="77" y="15"/>
                      <a:pt x="77" y="16"/>
                    </a:cubicBezTo>
                    <a:cubicBezTo>
                      <a:pt x="78" y="16"/>
                      <a:pt x="78" y="16"/>
                      <a:pt x="78" y="17"/>
                    </a:cubicBezTo>
                    <a:cubicBezTo>
                      <a:pt x="78" y="17"/>
                      <a:pt x="78" y="17"/>
                      <a:pt x="78" y="16"/>
                    </a:cubicBezTo>
                    <a:cubicBezTo>
                      <a:pt x="78" y="16"/>
                      <a:pt x="78" y="16"/>
                      <a:pt x="78" y="17"/>
                    </a:cubicBezTo>
                    <a:cubicBezTo>
                      <a:pt x="78" y="17"/>
                      <a:pt x="78" y="17"/>
                      <a:pt x="78" y="18"/>
                    </a:cubicBezTo>
                    <a:cubicBezTo>
                      <a:pt x="78" y="16"/>
                      <a:pt x="78" y="18"/>
                      <a:pt x="78" y="18"/>
                    </a:cubicBezTo>
                    <a:cubicBezTo>
                      <a:pt x="78" y="19"/>
                      <a:pt x="78" y="19"/>
                      <a:pt x="78" y="19"/>
                    </a:cubicBezTo>
                    <a:cubicBezTo>
                      <a:pt x="78" y="24"/>
                      <a:pt x="77" y="29"/>
                      <a:pt x="77" y="34"/>
                    </a:cubicBezTo>
                    <a:cubicBezTo>
                      <a:pt x="77" y="34"/>
                      <a:pt x="77" y="33"/>
                      <a:pt x="77" y="33"/>
                    </a:cubicBezTo>
                    <a:cubicBezTo>
                      <a:pt x="77" y="33"/>
                      <a:pt x="77" y="34"/>
                      <a:pt x="77" y="34"/>
                    </a:cubicBezTo>
                    <a:cubicBezTo>
                      <a:pt x="77" y="34"/>
                      <a:pt x="77" y="34"/>
                      <a:pt x="77" y="34"/>
                    </a:cubicBezTo>
                    <a:cubicBezTo>
                      <a:pt x="77" y="35"/>
                      <a:pt x="76" y="35"/>
                      <a:pt x="76" y="36"/>
                    </a:cubicBezTo>
                    <a:cubicBezTo>
                      <a:pt x="76" y="37"/>
                      <a:pt x="76" y="38"/>
                      <a:pt x="76" y="39"/>
                    </a:cubicBezTo>
                    <a:cubicBezTo>
                      <a:pt x="76" y="41"/>
                      <a:pt x="75" y="43"/>
                      <a:pt x="75" y="45"/>
                    </a:cubicBezTo>
                    <a:cubicBezTo>
                      <a:pt x="74" y="50"/>
                      <a:pt x="73" y="54"/>
                      <a:pt x="71" y="59"/>
                    </a:cubicBezTo>
                    <a:cubicBezTo>
                      <a:pt x="70" y="61"/>
                      <a:pt x="69" y="63"/>
                      <a:pt x="68" y="66"/>
                    </a:cubicBezTo>
                    <a:cubicBezTo>
                      <a:pt x="68" y="66"/>
                      <a:pt x="68" y="66"/>
                      <a:pt x="68" y="66"/>
                    </a:cubicBezTo>
                    <a:cubicBezTo>
                      <a:pt x="69" y="65"/>
                      <a:pt x="69" y="66"/>
                      <a:pt x="68" y="66"/>
                    </a:cubicBezTo>
                    <a:cubicBezTo>
                      <a:pt x="68" y="66"/>
                      <a:pt x="68" y="66"/>
                      <a:pt x="68" y="67"/>
                    </a:cubicBezTo>
                    <a:cubicBezTo>
                      <a:pt x="68" y="67"/>
                      <a:pt x="68" y="68"/>
                      <a:pt x="67" y="68"/>
                    </a:cubicBezTo>
                    <a:cubicBezTo>
                      <a:pt x="67" y="69"/>
                      <a:pt x="66" y="71"/>
                      <a:pt x="66" y="72"/>
                    </a:cubicBezTo>
                    <a:cubicBezTo>
                      <a:pt x="65" y="74"/>
                      <a:pt x="63" y="76"/>
                      <a:pt x="62" y="78"/>
                    </a:cubicBezTo>
                    <a:cubicBezTo>
                      <a:pt x="61" y="79"/>
                      <a:pt x="61" y="80"/>
                      <a:pt x="60" y="81"/>
                    </a:cubicBezTo>
                    <a:cubicBezTo>
                      <a:pt x="60" y="81"/>
                      <a:pt x="61" y="80"/>
                      <a:pt x="60" y="81"/>
                    </a:cubicBezTo>
                    <a:cubicBezTo>
                      <a:pt x="60" y="81"/>
                      <a:pt x="60" y="81"/>
                      <a:pt x="60" y="81"/>
                    </a:cubicBezTo>
                    <a:cubicBezTo>
                      <a:pt x="60" y="81"/>
                      <a:pt x="60" y="81"/>
                      <a:pt x="59" y="82"/>
                    </a:cubicBezTo>
                    <a:cubicBezTo>
                      <a:pt x="59" y="82"/>
                      <a:pt x="59" y="83"/>
                      <a:pt x="58" y="83"/>
                    </a:cubicBezTo>
                    <a:cubicBezTo>
                      <a:pt x="57" y="85"/>
                      <a:pt x="55" y="86"/>
                      <a:pt x="53" y="88"/>
                    </a:cubicBezTo>
                    <a:cubicBezTo>
                      <a:pt x="53" y="88"/>
                      <a:pt x="53" y="88"/>
                      <a:pt x="52" y="88"/>
                    </a:cubicBezTo>
                    <a:cubicBezTo>
                      <a:pt x="52" y="89"/>
                      <a:pt x="52" y="89"/>
                      <a:pt x="53" y="88"/>
                    </a:cubicBezTo>
                    <a:cubicBezTo>
                      <a:pt x="53" y="88"/>
                      <a:pt x="52" y="88"/>
                      <a:pt x="52" y="88"/>
                    </a:cubicBezTo>
                    <a:cubicBezTo>
                      <a:pt x="52" y="89"/>
                      <a:pt x="51" y="89"/>
                      <a:pt x="51" y="90"/>
                    </a:cubicBezTo>
                    <a:cubicBezTo>
                      <a:pt x="50" y="90"/>
                      <a:pt x="49" y="91"/>
                      <a:pt x="48" y="91"/>
                    </a:cubicBezTo>
                    <a:cubicBezTo>
                      <a:pt x="47" y="92"/>
                      <a:pt x="46" y="92"/>
                      <a:pt x="45" y="93"/>
                    </a:cubicBezTo>
                    <a:cubicBezTo>
                      <a:pt x="46" y="92"/>
                      <a:pt x="45" y="93"/>
                      <a:pt x="44" y="93"/>
                    </a:cubicBezTo>
                    <a:cubicBezTo>
                      <a:pt x="44" y="93"/>
                      <a:pt x="44" y="93"/>
                      <a:pt x="44" y="93"/>
                    </a:cubicBezTo>
                    <a:cubicBezTo>
                      <a:pt x="43" y="94"/>
                      <a:pt x="42" y="94"/>
                      <a:pt x="42" y="94"/>
                    </a:cubicBezTo>
                    <a:cubicBezTo>
                      <a:pt x="41" y="94"/>
                      <a:pt x="39" y="95"/>
                      <a:pt x="38" y="95"/>
                    </a:cubicBezTo>
                    <a:cubicBezTo>
                      <a:pt x="38" y="95"/>
                      <a:pt x="37" y="95"/>
                      <a:pt x="36" y="95"/>
                    </a:cubicBezTo>
                    <a:cubicBezTo>
                      <a:pt x="36" y="95"/>
                      <a:pt x="36" y="95"/>
                      <a:pt x="36" y="95"/>
                    </a:cubicBezTo>
                    <a:cubicBezTo>
                      <a:pt x="37" y="95"/>
                      <a:pt x="37" y="95"/>
                      <a:pt x="36" y="95"/>
                    </a:cubicBezTo>
                    <a:cubicBezTo>
                      <a:pt x="36" y="95"/>
                      <a:pt x="35" y="95"/>
                      <a:pt x="35" y="95"/>
                    </a:cubicBezTo>
                    <a:cubicBezTo>
                      <a:pt x="34" y="96"/>
                      <a:pt x="32" y="96"/>
                      <a:pt x="31" y="96"/>
                    </a:cubicBezTo>
                    <a:cubicBezTo>
                      <a:pt x="30" y="96"/>
                      <a:pt x="30" y="96"/>
                      <a:pt x="29" y="96"/>
                    </a:cubicBezTo>
                    <a:cubicBezTo>
                      <a:pt x="29" y="96"/>
                      <a:pt x="28" y="96"/>
                      <a:pt x="28" y="95"/>
                    </a:cubicBezTo>
                    <a:cubicBezTo>
                      <a:pt x="27" y="95"/>
                      <a:pt x="27" y="95"/>
                      <a:pt x="27" y="95"/>
                    </a:cubicBezTo>
                    <a:cubicBezTo>
                      <a:pt x="27" y="95"/>
                      <a:pt x="27" y="95"/>
                      <a:pt x="28" y="96"/>
                    </a:cubicBezTo>
                    <a:cubicBezTo>
                      <a:pt x="28" y="95"/>
                      <a:pt x="27" y="95"/>
                      <a:pt x="27" y="95"/>
                    </a:cubicBezTo>
                    <a:cubicBezTo>
                      <a:pt x="27" y="95"/>
                      <a:pt x="27" y="95"/>
                      <a:pt x="26" y="95"/>
                    </a:cubicBezTo>
                    <a:cubicBezTo>
                      <a:pt x="26" y="95"/>
                      <a:pt x="26" y="95"/>
                      <a:pt x="26" y="95"/>
                    </a:cubicBezTo>
                    <a:cubicBezTo>
                      <a:pt x="27" y="95"/>
                      <a:pt x="27" y="95"/>
                      <a:pt x="26" y="95"/>
                    </a:cubicBezTo>
                    <a:cubicBezTo>
                      <a:pt x="24" y="94"/>
                      <a:pt x="22" y="93"/>
                      <a:pt x="21" y="92"/>
                    </a:cubicBezTo>
                    <a:cubicBezTo>
                      <a:pt x="20" y="91"/>
                      <a:pt x="20" y="91"/>
                      <a:pt x="19" y="91"/>
                    </a:cubicBezTo>
                    <a:cubicBezTo>
                      <a:pt x="19" y="91"/>
                      <a:pt x="18" y="90"/>
                      <a:pt x="19" y="91"/>
                    </a:cubicBezTo>
                    <a:cubicBezTo>
                      <a:pt x="19" y="91"/>
                      <a:pt x="19" y="91"/>
                      <a:pt x="19" y="90"/>
                    </a:cubicBezTo>
                    <a:cubicBezTo>
                      <a:pt x="18" y="90"/>
                      <a:pt x="18" y="90"/>
                      <a:pt x="18" y="90"/>
                    </a:cubicBezTo>
                    <a:cubicBezTo>
                      <a:pt x="17" y="89"/>
                      <a:pt x="15" y="88"/>
                      <a:pt x="14" y="86"/>
                    </a:cubicBezTo>
                    <a:cubicBezTo>
                      <a:pt x="14" y="86"/>
                      <a:pt x="13" y="85"/>
                      <a:pt x="12" y="84"/>
                    </a:cubicBezTo>
                    <a:cubicBezTo>
                      <a:pt x="13" y="85"/>
                      <a:pt x="12" y="84"/>
                      <a:pt x="12" y="84"/>
                    </a:cubicBezTo>
                    <a:cubicBezTo>
                      <a:pt x="12" y="83"/>
                      <a:pt x="12" y="83"/>
                      <a:pt x="12" y="83"/>
                    </a:cubicBezTo>
                    <a:cubicBezTo>
                      <a:pt x="11" y="82"/>
                      <a:pt x="11" y="82"/>
                      <a:pt x="11" y="81"/>
                    </a:cubicBezTo>
                    <a:cubicBezTo>
                      <a:pt x="10" y="80"/>
                      <a:pt x="9" y="79"/>
                      <a:pt x="9" y="78"/>
                    </a:cubicBezTo>
                    <a:cubicBezTo>
                      <a:pt x="8" y="77"/>
                      <a:pt x="8" y="77"/>
                      <a:pt x="8" y="76"/>
                    </a:cubicBezTo>
                    <a:cubicBezTo>
                      <a:pt x="8" y="76"/>
                      <a:pt x="8" y="76"/>
                      <a:pt x="7" y="75"/>
                    </a:cubicBezTo>
                    <a:cubicBezTo>
                      <a:pt x="8" y="76"/>
                      <a:pt x="7" y="75"/>
                      <a:pt x="7" y="75"/>
                    </a:cubicBezTo>
                    <a:cubicBezTo>
                      <a:pt x="6" y="73"/>
                      <a:pt x="5" y="72"/>
                      <a:pt x="3" y="72"/>
                    </a:cubicBezTo>
                    <a:cubicBezTo>
                      <a:pt x="1" y="73"/>
                      <a:pt x="0" y="75"/>
                      <a:pt x="0" y="77"/>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9" name="Freeform 58">
                <a:extLst>
                  <a:ext uri="{FF2B5EF4-FFF2-40B4-BE49-F238E27FC236}">
                    <a16:creationId xmlns:a16="http://schemas.microsoft.com/office/drawing/2014/main" id="{DDC21DCD-E319-4314-816F-22BF6437835E}"/>
                  </a:ext>
                </a:extLst>
              </p:cNvPr>
              <p:cNvSpPr>
                <a:spLocks/>
              </p:cNvSpPr>
              <p:nvPr/>
            </p:nvSpPr>
            <p:spPr bwMode="auto">
              <a:xfrm>
                <a:off x="6146800" y="1108075"/>
                <a:ext cx="69850" cy="71437"/>
              </a:xfrm>
              <a:custGeom>
                <a:avLst/>
                <a:gdLst>
                  <a:gd name="T0" fmla="*/ 0 w 19"/>
                  <a:gd name="T1" fmla="*/ 6 h 19"/>
                  <a:gd name="T2" fmla="*/ 10 w 19"/>
                  <a:gd name="T3" fmla="*/ 1 h 19"/>
                  <a:gd name="T4" fmla="*/ 18 w 19"/>
                  <a:gd name="T5" fmla="*/ 11 h 19"/>
                  <a:gd name="T6" fmla="*/ 0 w 19"/>
                  <a:gd name="T7" fmla="*/ 6 h 19"/>
                </a:gdLst>
                <a:ahLst/>
                <a:cxnLst>
                  <a:cxn ang="0">
                    <a:pos x="T0" y="T1"/>
                  </a:cxn>
                  <a:cxn ang="0">
                    <a:pos x="T2" y="T3"/>
                  </a:cxn>
                  <a:cxn ang="0">
                    <a:pos x="T4" y="T5"/>
                  </a:cxn>
                  <a:cxn ang="0">
                    <a:pos x="T6" y="T7"/>
                  </a:cxn>
                </a:cxnLst>
                <a:rect l="0" t="0" r="r" b="b"/>
                <a:pathLst>
                  <a:path w="19" h="19">
                    <a:moveTo>
                      <a:pt x="0" y="6"/>
                    </a:moveTo>
                    <a:cubicBezTo>
                      <a:pt x="4" y="0"/>
                      <a:pt x="10" y="1"/>
                      <a:pt x="10" y="1"/>
                    </a:cubicBezTo>
                    <a:cubicBezTo>
                      <a:pt x="19" y="2"/>
                      <a:pt x="18" y="11"/>
                      <a:pt x="18" y="11"/>
                    </a:cubicBezTo>
                    <a:cubicBezTo>
                      <a:pt x="11" y="19"/>
                      <a:pt x="0" y="6"/>
                      <a:pt x="0" y="6"/>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0" name="Freeform 59">
                <a:extLst>
                  <a:ext uri="{FF2B5EF4-FFF2-40B4-BE49-F238E27FC236}">
                    <a16:creationId xmlns:a16="http://schemas.microsoft.com/office/drawing/2014/main" id="{ACF653CD-F8E6-417E-B082-881978D7DED2}"/>
                  </a:ext>
                </a:extLst>
              </p:cNvPr>
              <p:cNvSpPr>
                <a:spLocks/>
              </p:cNvSpPr>
              <p:nvPr/>
            </p:nvSpPr>
            <p:spPr bwMode="auto">
              <a:xfrm>
                <a:off x="6130925" y="1212850"/>
                <a:ext cx="139700" cy="85725"/>
              </a:xfrm>
              <a:custGeom>
                <a:avLst/>
                <a:gdLst>
                  <a:gd name="T0" fmla="*/ 0 w 37"/>
                  <a:gd name="T1" fmla="*/ 15 h 23"/>
                  <a:gd name="T2" fmla="*/ 23 w 37"/>
                  <a:gd name="T3" fmla="*/ 3 h 23"/>
                  <a:gd name="T4" fmla="*/ 37 w 37"/>
                  <a:gd name="T5" fmla="*/ 23 h 23"/>
                  <a:gd name="T6" fmla="*/ 0 w 37"/>
                  <a:gd name="T7" fmla="*/ 15 h 23"/>
                </a:gdLst>
                <a:ahLst/>
                <a:cxnLst>
                  <a:cxn ang="0">
                    <a:pos x="T0" y="T1"/>
                  </a:cxn>
                  <a:cxn ang="0">
                    <a:pos x="T2" y="T3"/>
                  </a:cxn>
                  <a:cxn ang="0">
                    <a:pos x="T4" y="T5"/>
                  </a:cxn>
                  <a:cxn ang="0">
                    <a:pos x="T6" y="T7"/>
                  </a:cxn>
                </a:cxnLst>
                <a:rect l="0" t="0" r="r" b="b"/>
                <a:pathLst>
                  <a:path w="37" h="23">
                    <a:moveTo>
                      <a:pt x="0" y="15"/>
                    </a:moveTo>
                    <a:cubicBezTo>
                      <a:pt x="0" y="14"/>
                      <a:pt x="10" y="0"/>
                      <a:pt x="23" y="3"/>
                    </a:cubicBezTo>
                    <a:cubicBezTo>
                      <a:pt x="36" y="7"/>
                      <a:pt x="37" y="23"/>
                      <a:pt x="37" y="23"/>
                    </a:cubicBezTo>
                    <a:cubicBezTo>
                      <a:pt x="37" y="23"/>
                      <a:pt x="24" y="5"/>
                      <a:pt x="0" y="15"/>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1" name="Freeform 60">
                <a:extLst>
                  <a:ext uri="{FF2B5EF4-FFF2-40B4-BE49-F238E27FC236}">
                    <a16:creationId xmlns:a16="http://schemas.microsoft.com/office/drawing/2014/main" id="{0912243F-4E77-4666-8402-D27BA8BA3288}"/>
                  </a:ext>
                </a:extLst>
              </p:cNvPr>
              <p:cNvSpPr>
                <a:spLocks/>
              </p:cNvSpPr>
              <p:nvPr/>
            </p:nvSpPr>
            <p:spPr bwMode="auto">
              <a:xfrm>
                <a:off x="6254750" y="1130300"/>
                <a:ext cx="71438" cy="71437"/>
              </a:xfrm>
              <a:custGeom>
                <a:avLst/>
                <a:gdLst>
                  <a:gd name="T0" fmla="*/ 0 w 19"/>
                  <a:gd name="T1" fmla="*/ 9 h 19"/>
                  <a:gd name="T2" fmla="*/ 11 w 19"/>
                  <a:gd name="T3" fmla="*/ 2 h 19"/>
                  <a:gd name="T4" fmla="*/ 19 w 19"/>
                  <a:gd name="T5" fmla="*/ 10 h 19"/>
                  <a:gd name="T6" fmla="*/ 0 w 19"/>
                  <a:gd name="T7" fmla="*/ 9 h 19"/>
                </a:gdLst>
                <a:ahLst/>
                <a:cxnLst>
                  <a:cxn ang="0">
                    <a:pos x="T0" y="T1"/>
                  </a:cxn>
                  <a:cxn ang="0">
                    <a:pos x="T2" y="T3"/>
                  </a:cxn>
                  <a:cxn ang="0">
                    <a:pos x="T4" y="T5"/>
                  </a:cxn>
                  <a:cxn ang="0">
                    <a:pos x="T6" y="T7"/>
                  </a:cxn>
                </a:cxnLst>
                <a:rect l="0" t="0" r="r" b="b"/>
                <a:pathLst>
                  <a:path w="19" h="19">
                    <a:moveTo>
                      <a:pt x="0" y="9"/>
                    </a:moveTo>
                    <a:cubicBezTo>
                      <a:pt x="0" y="9"/>
                      <a:pt x="2" y="0"/>
                      <a:pt x="11" y="2"/>
                    </a:cubicBezTo>
                    <a:cubicBezTo>
                      <a:pt x="11" y="2"/>
                      <a:pt x="17" y="3"/>
                      <a:pt x="19" y="10"/>
                    </a:cubicBezTo>
                    <a:cubicBezTo>
                      <a:pt x="19" y="10"/>
                      <a:pt x="4" y="19"/>
                      <a:pt x="0" y="9"/>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72" name="Freeform 55">
            <a:extLst>
              <a:ext uri="{FF2B5EF4-FFF2-40B4-BE49-F238E27FC236}">
                <a16:creationId xmlns:a16="http://schemas.microsoft.com/office/drawing/2014/main" id="{E8977CAF-C89B-4606-9450-1B2D06CF1200}"/>
              </a:ext>
            </a:extLst>
          </p:cNvPr>
          <p:cNvSpPr>
            <a:spLocks/>
          </p:cNvSpPr>
          <p:nvPr/>
        </p:nvSpPr>
        <p:spPr bwMode="auto">
          <a:xfrm>
            <a:off x="8493958" y="1674976"/>
            <a:ext cx="894610" cy="841552"/>
          </a:xfrm>
          <a:custGeom>
            <a:avLst/>
            <a:gdLst>
              <a:gd name="T0" fmla="*/ 15 w 257"/>
              <a:gd name="T1" fmla="*/ 147 h 241"/>
              <a:gd name="T2" fmla="*/ 103 w 257"/>
              <a:gd name="T3" fmla="*/ 13 h 241"/>
              <a:gd name="T4" fmla="*/ 243 w 257"/>
              <a:gd name="T5" fmla="*/ 102 h 241"/>
              <a:gd name="T6" fmla="*/ 154 w 257"/>
              <a:gd name="T7" fmla="*/ 228 h 241"/>
              <a:gd name="T8" fmla="*/ 15 w 257"/>
              <a:gd name="T9" fmla="*/ 147 h 241"/>
            </a:gdLst>
            <a:ahLst/>
            <a:cxnLst>
              <a:cxn ang="0">
                <a:pos x="T0" y="T1"/>
              </a:cxn>
              <a:cxn ang="0">
                <a:pos x="T2" y="T3"/>
              </a:cxn>
              <a:cxn ang="0">
                <a:pos x="T4" y="T5"/>
              </a:cxn>
              <a:cxn ang="0">
                <a:pos x="T6" y="T7"/>
              </a:cxn>
              <a:cxn ang="0">
                <a:pos x="T8" y="T9"/>
              </a:cxn>
            </a:cxnLst>
            <a:rect l="0" t="0" r="r" b="b"/>
            <a:pathLst>
              <a:path w="257" h="241">
                <a:moveTo>
                  <a:pt x="15" y="147"/>
                </a:moveTo>
                <a:cubicBezTo>
                  <a:pt x="0" y="85"/>
                  <a:pt x="40" y="25"/>
                  <a:pt x="103" y="13"/>
                </a:cubicBezTo>
                <a:cubicBezTo>
                  <a:pt x="166" y="0"/>
                  <a:pt x="229" y="40"/>
                  <a:pt x="243" y="102"/>
                </a:cubicBezTo>
                <a:cubicBezTo>
                  <a:pt x="257" y="163"/>
                  <a:pt x="217" y="216"/>
                  <a:pt x="154" y="228"/>
                </a:cubicBezTo>
                <a:cubicBezTo>
                  <a:pt x="90" y="241"/>
                  <a:pt x="29" y="208"/>
                  <a:pt x="15" y="147"/>
                </a:cubicBezTo>
              </a:path>
            </a:pathLst>
          </a:custGeom>
          <a:solidFill>
            <a:srgbClr val="12ABDB"/>
          </a:solidFill>
          <a:ln w="3810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74" name="Freeform 5">
            <a:extLst>
              <a:ext uri="{FF2B5EF4-FFF2-40B4-BE49-F238E27FC236}">
                <a16:creationId xmlns:a16="http://schemas.microsoft.com/office/drawing/2014/main" id="{B25FD585-1745-4F5E-8424-CB5274A0A486}"/>
              </a:ext>
            </a:extLst>
          </p:cNvPr>
          <p:cNvSpPr>
            <a:spLocks noChangeAspect="1"/>
          </p:cNvSpPr>
          <p:nvPr/>
        </p:nvSpPr>
        <p:spPr bwMode="auto">
          <a:xfrm>
            <a:off x="8504260" y="1655734"/>
            <a:ext cx="900958" cy="834776"/>
          </a:xfrm>
          <a:custGeom>
            <a:avLst/>
            <a:gdLst>
              <a:gd name="T0" fmla="*/ 78 w 542"/>
              <a:gd name="T1" fmla="*/ 396 h 507"/>
              <a:gd name="T2" fmla="*/ 130 w 542"/>
              <a:gd name="T3" fmla="*/ 76 h 507"/>
              <a:gd name="T4" fmla="*/ 464 w 542"/>
              <a:gd name="T5" fmla="*/ 123 h 507"/>
              <a:gd name="T6" fmla="*/ 404 w 542"/>
              <a:gd name="T7" fmla="*/ 431 h 507"/>
              <a:gd name="T8" fmla="*/ 78 w 542"/>
              <a:gd name="T9" fmla="*/ 396 h 507"/>
            </a:gdLst>
            <a:ahLst/>
            <a:cxnLst>
              <a:cxn ang="0">
                <a:pos x="T0" y="T1"/>
              </a:cxn>
              <a:cxn ang="0">
                <a:pos x="T2" y="T3"/>
              </a:cxn>
              <a:cxn ang="0">
                <a:pos x="T4" y="T5"/>
              </a:cxn>
              <a:cxn ang="0">
                <a:pos x="T6" y="T7"/>
              </a:cxn>
              <a:cxn ang="0">
                <a:pos x="T8" y="T9"/>
              </a:cxn>
            </a:cxnLst>
            <a:rect l="0" t="0" r="r" b="b"/>
            <a:pathLst>
              <a:path w="542" h="507">
                <a:moveTo>
                  <a:pt x="78" y="396"/>
                </a:moveTo>
                <a:cubicBezTo>
                  <a:pt x="0" y="295"/>
                  <a:pt x="23" y="151"/>
                  <a:pt x="130" y="76"/>
                </a:cubicBezTo>
                <a:cubicBezTo>
                  <a:pt x="237" y="0"/>
                  <a:pt x="387" y="21"/>
                  <a:pt x="464" y="123"/>
                </a:cubicBezTo>
                <a:cubicBezTo>
                  <a:pt x="542" y="225"/>
                  <a:pt x="510" y="356"/>
                  <a:pt x="404" y="431"/>
                </a:cubicBezTo>
                <a:cubicBezTo>
                  <a:pt x="297" y="507"/>
                  <a:pt x="156" y="498"/>
                  <a:pt x="78" y="396"/>
                </a:cubicBezTo>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Ubuntu"/>
              <a:ea typeface="+mn-ea"/>
              <a:cs typeface="+mn-cs"/>
            </a:endParaRPr>
          </a:p>
        </p:txBody>
      </p:sp>
      <p:sp>
        <p:nvSpPr>
          <p:cNvPr id="76" name="Title 3">
            <a:extLst>
              <a:ext uri="{FF2B5EF4-FFF2-40B4-BE49-F238E27FC236}">
                <a16:creationId xmlns:a16="http://schemas.microsoft.com/office/drawing/2014/main" id="{F55D1FC6-13DD-40AA-9504-371183096751}"/>
              </a:ext>
            </a:extLst>
          </p:cNvPr>
          <p:cNvSpPr txBox="1">
            <a:spLocks/>
          </p:cNvSpPr>
          <p:nvPr/>
        </p:nvSpPr>
        <p:spPr>
          <a:xfrm>
            <a:off x="417583" y="246039"/>
            <a:ext cx="12192000"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4000" b="1" i="0" u="none" strike="noStrike" kern="1200" cap="all" spc="0" normalizeH="0" baseline="0" noProof="0" dirty="0">
                <a:ln>
                  <a:noFill/>
                </a:ln>
                <a:solidFill>
                  <a:srgbClr val="FFFFFF"/>
                </a:solidFill>
                <a:effectLst/>
                <a:uLnTx/>
                <a:uFillTx/>
                <a:latin typeface="Ubuntu" panose="020B0504030602030204" pitchFamily="34" charset="0"/>
                <a:ea typeface="+mj-ea"/>
                <a:cs typeface="+mj-cs"/>
              </a:rPr>
              <a:t>2022 Contest </a:t>
            </a:r>
            <a:r>
              <a:rPr kumimoji="0" lang="en-IN" sz="4000" b="1" i="0" u="none" strike="noStrike" kern="1200" cap="all" spc="0" normalizeH="0" baseline="0" noProof="0" dirty="0">
                <a:ln>
                  <a:noFill/>
                </a:ln>
                <a:solidFill>
                  <a:srgbClr val="12ABDB"/>
                </a:solidFill>
                <a:effectLst/>
                <a:uLnTx/>
                <a:uFillTx/>
                <a:latin typeface="Ubuntu" panose="020B0504030602030204" pitchFamily="34" charset="0"/>
                <a:ea typeface="+mj-ea"/>
                <a:cs typeface="+mj-cs"/>
              </a:rPr>
              <a:t>Themes</a:t>
            </a:r>
          </a:p>
        </p:txBody>
      </p:sp>
      <p:pic>
        <p:nvPicPr>
          <p:cNvPr id="8" name="Picture 7">
            <a:extLst>
              <a:ext uri="{FF2B5EF4-FFF2-40B4-BE49-F238E27FC236}">
                <a16:creationId xmlns:a16="http://schemas.microsoft.com/office/drawing/2014/main" id="{B282314D-BFF6-09B5-E8E0-69895BD1FB99}"/>
              </a:ext>
            </a:extLst>
          </p:cNvPr>
          <p:cNvPicPr>
            <a:picLocks noChangeAspect="1"/>
          </p:cNvPicPr>
          <p:nvPr/>
        </p:nvPicPr>
        <p:blipFill>
          <a:blip r:embed="rId12"/>
          <a:stretch>
            <a:fillRect/>
          </a:stretch>
        </p:blipFill>
        <p:spPr>
          <a:xfrm>
            <a:off x="8705438" y="1846103"/>
            <a:ext cx="438561" cy="477466"/>
          </a:xfrm>
          <a:prstGeom prst="rect">
            <a:avLst/>
          </a:prstGeom>
        </p:spPr>
      </p:pic>
      <p:pic>
        <p:nvPicPr>
          <p:cNvPr id="4" name="Picture 3" descr="Timeline&#10;&#10;Description automatically generated">
            <a:extLst>
              <a:ext uri="{FF2B5EF4-FFF2-40B4-BE49-F238E27FC236}">
                <a16:creationId xmlns:a16="http://schemas.microsoft.com/office/drawing/2014/main" id="{B5BF7D96-6F3C-4775-A589-7D4D09B5E4E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547177" y="861657"/>
            <a:ext cx="9097645" cy="5750304"/>
          </a:xfrm>
          <a:prstGeom prst="rect">
            <a:avLst/>
          </a:prstGeom>
        </p:spPr>
      </p:pic>
    </p:spTree>
    <p:extLst>
      <p:ext uri="{BB962C8B-B14F-4D97-AF65-F5344CB8AC3E}">
        <p14:creationId xmlns:p14="http://schemas.microsoft.com/office/powerpoint/2010/main" val="20476485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2091502-4C02-AABC-BFCB-607642CF5F56}"/>
              </a:ext>
            </a:extLst>
          </p:cNvPr>
          <p:cNvSpPr/>
          <p:nvPr/>
        </p:nvSpPr>
        <p:spPr>
          <a:xfrm>
            <a:off x="34469" y="1311442"/>
            <a:ext cx="12192000" cy="4836695"/>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3" name="Title 3">
            <a:extLst>
              <a:ext uri="{FF2B5EF4-FFF2-40B4-BE49-F238E27FC236}">
                <a16:creationId xmlns:a16="http://schemas.microsoft.com/office/drawing/2014/main" id="{7B2C84C6-C880-F93D-BE89-13BD785C380E}"/>
              </a:ext>
            </a:extLst>
          </p:cNvPr>
          <p:cNvSpPr>
            <a:spLocks noGrp="1"/>
          </p:cNvSpPr>
          <p:nvPr>
            <p:ph type="title"/>
          </p:nvPr>
        </p:nvSpPr>
        <p:spPr>
          <a:xfrm>
            <a:off x="698532" y="359723"/>
            <a:ext cx="12258674" cy="609158"/>
          </a:xfrm>
        </p:spPr>
        <p:txBody>
          <a:bodyPr/>
          <a:lstStyle/>
          <a:p>
            <a:r>
              <a:rPr lang="en-US" sz="3200" b="1" dirty="0">
                <a:latin typeface="Ubuntu" panose="020B0504030602030204" pitchFamily="34" charset="0"/>
              </a:rPr>
              <a:t>FLASHBACK - Falcon 2021 </a:t>
            </a:r>
            <a:r>
              <a:rPr lang="en-US" sz="3200" b="1" dirty="0">
                <a:solidFill>
                  <a:schemeClr val="accent2"/>
                </a:solidFill>
                <a:latin typeface="Ubuntu" panose="020B0504030602030204" pitchFamily="34" charset="0"/>
              </a:rPr>
              <a:t>Highlights</a:t>
            </a:r>
            <a:endParaRPr lang="en-US" sz="3200" b="1" dirty="0">
              <a:latin typeface="Ubuntu" panose="020B0504030602030204" pitchFamily="34" charset="0"/>
            </a:endParaRPr>
          </a:p>
        </p:txBody>
      </p:sp>
      <p:graphicFrame>
        <p:nvGraphicFramePr>
          <p:cNvPr id="4" name="Diagram 3">
            <a:extLst>
              <a:ext uri="{FF2B5EF4-FFF2-40B4-BE49-F238E27FC236}">
                <a16:creationId xmlns:a16="http://schemas.microsoft.com/office/drawing/2014/main" id="{A066EF72-BB08-E9B8-F633-0C273C6AB354}"/>
              </a:ext>
            </a:extLst>
          </p:cNvPr>
          <p:cNvGraphicFramePr/>
          <p:nvPr>
            <p:extLst>
              <p:ext uri="{D42A27DB-BD31-4B8C-83A1-F6EECF244321}">
                <p14:modId xmlns:p14="http://schemas.microsoft.com/office/powerpoint/2010/main" val="3084130927"/>
              </p:ext>
            </p:extLst>
          </p:nvPr>
        </p:nvGraphicFramePr>
        <p:xfrm>
          <a:off x="-2644939" y="1563624"/>
          <a:ext cx="10822812" cy="42639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8D9BC332-B758-2C1F-C1CB-F168D57B86A7}"/>
              </a:ext>
            </a:extLst>
          </p:cNvPr>
          <p:cNvGrpSpPr/>
          <p:nvPr/>
        </p:nvGrpSpPr>
        <p:grpSpPr>
          <a:xfrm>
            <a:off x="-1714914" y="8261336"/>
            <a:ext cx="11386134" cy="486482"/>
            <a:chOff x="404813" y="5983419"/>
            <a:chExt cx="11386134" cy="486482"/>
          </a:xfrm>
        </p:grpSpPr>
        <p:sp>
          <p:nvSpPr>
            <p:cNvPr id="6" name="Rectangle 5">
              <a:extLst>
                <a:ext uri="{FF2B5EF4-FFF2-40B4-BE49-F238E27FC236}">
                  <a16:creationId xmlns:a16="http://schemas.microsoft.com/office/drawing/2014/main" id="{30B05AAA-1EEC-2DE4-7D77-BBAA3F9DBFE9}"/>
                </a:ext>
              </a:extLst>
            </p:cNvPr>
            <p:cNvSpPr/>
            <p:nvPr/>
          </p:nvSpPr>
          <p:spPr>
            <a:xfrm>
              <a:off x="417548" y="6162124"/>
              <a:ext cx="1421675" cy="307777"/>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0" normalizeH="0" baseline="0" noProof="0">
                  <a:ln>
                    <a:noFill/>
                  </a:ln>
                  <a:solidFill>
                    <a:prstClr val="black"/>
                  </a:solidFill>
                  <a:effectLst/>
                  <a:uLnTx/>
                  <a:uFillTx/>
                  <a:latin typeface="Ubuntu Medium"/>
                  <a:ea typeface="+mn-ea"/>
                  <a:cs typeface="+mn-cs"/>
                </a:rPr>
                <a:t>TEXT</a:t>
              </a:r>
            </a:p>
          </p:txBody>
        </p:sp>
        <p:sp>
          <p:nvSpPr>
            <p:cNvPr id="7" name="Rectangle 6">
              <a:extLst>
                <a:ext uri="{FF2B5EF4-FFF2-40B4-BE49-F238E27FC236}">
                  <a16:creationId xmlns:a16="http://schemas.microsoft.com/office/drawing/2014/main" id="{0C318290-78A5-C795-ACA3-282721CF9AF5}"/>
                </a:ext>
              </a:extLst>
            </p:cNvPr>
            <p:cNvSpPr/>
            <p:nvPr/>
          </p:nvSpPr>
          <p:spPr>
            <a:xfrm>
              <a:off x="1839223" y="6162124"/>
              <a:ext cx="1421675" cy="307777"/>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0" normalizeH="0" baseline="0" noProof="0">
                  <a:ln>
                    <a:noFill/>
                  </a:ln>
                  <a:solidFill>
                    <a:prstClr val="black"/>
                  </a:solidFill>
                  <a:effectLst/>
                  <a:uLnTx/>
                  <a:uFillTx/>
                  <a:latin typeface="Ubuntu Medium"/>
                  <a:ea typeface="+mn-ea"/>
                  <a:cs typeface="+mn-cs"/>
                </a:rPr>
                <a:t>TEXT</a:t>
              </a:r>
            </a:p>
          </p:txBody>
        </p:sp>
        <p:sp>
          <p:nvSpPr>
            <p:cNvPr id="8" name="Rectangle 7">
              <a:extLst>
                <a:ext uri="{FF2B5EF4-FFF2-40B4-BE49-F238E27FC236}">
                  <a16:creationId xmlns:a16="http://schemas.microsoft.com/office/drawing/2014/main" id="{B5B28BD7-056D-AFB3-83D2-1CC555107897}"/>
                </a:ext>
              </a:extLst>
            </p:cNvPr>
            <p:cNvSpPr/>
            <p:nvPr/>
          </p:nvSpPr>
          <p:spPr>
            <a:xfrm>
              <a:off x="3260898" y="6162124"/>
              <a:ext cx="1421675" cy="307777"/>
            </a:xfrm>
            <a:prstGeom prst="rect">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0" normalizeH="0" baseline="0" noProof="0">
                  <a:ln>
                    <a:noFill/>
                  </a:ln>
                  <a:solidFill>
                    <a:srgbClr val="FFFFFF"/>
                  </a:solidFill>
                  <a:effectLst/>
                  <a:uLnTx/>
                  <a:uFillTx/>
                  <a:latin typeface="Ubuntu Medium"/>
                  <a:ea typeface="+mn-ea"/>
                  <a:cs typeface="+mn-cs"/>
                </a:rPr>
                <a:t>TEXT</a:t>
              </a:r>
            </a:p>
          </p:txBody>
        </p:sp>
        <p:sp>
          <p:nvSpPr>
            <p:cNvPr id="9" name="Rectangle 8">
              <a:extLst>
                <a:ext uri="{FF2B5EF4-FFF2-40B4-BE49-F238E27FC236}">
                  <a16:creationId xmlns:a16="http://schemas.microsoft.com/office/drawing/2014/main" id="{4F727659-68AB-9EC9-3500-8A24FA0D6EE3}"/>
                </a:ext>
              </a:extLst>
            </p:cNvPr>
            <p:cNvSpPr/>
            <p:nvPr/>
          </p:nvSpPr>
          <p:spPr>
            <a:xfrm>
              <a:off x="4682572" y="6162124"/>
              <a:ext cx="1421675" cy="307777"/>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0" normalizeH="0" baseline="0" noProof="0">
                  <a:ln>
                    <a:noFill/>
                  </a:ln>
                  <a:solidFill>
                    <a:srgbClr val="FFFFFF"/>
                  </a:solidFill>
                  <a:effectLst/>
                  <a:uLnTx/>
                  <a:uFillTx/>
                  <a:latin typeface="Ubuntu Medium"/>
                  <a:ea typeface="+mn-ea"/>
                  <a:cs typeface="+mn-cs"/>
                </a:rPr>
                <a:t>TEXT</a:t>
              </a:r>
            </a:p>
          </p:txBody>
        </p:sp>
        <p:sp>
          <p:nvSpPr>
            <p:cNvPr id="10" name="Rectangle 9">
              <a:extLst>
                <a:ext uri="{FF2B5EF4-FFF2-40B4-BE49-F238E27FC236}">
                  <a16:creationId xmlns:a16="http://schemas.microsoft.com/office/drawing/2014/main" id="{0217BAD4-12DA-A6D7-8C11-D9E24CE36CE7}"/>
                </a:ext>
              </a:extLst>
            </p:cNvPr>
            <p:cNvSpPr/>
            <p:nvPr/>
          </p:nvSpPr>
          <p:spPr>
            <a:xfrm>
              <a:off x="6104247" y="6162124"/>
              <a:ext cx="1421675" cy="307777"/>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0" normalizeH="0" baseline="0" noProof="0">
                  <a:ln>
                    <a:noFill/>
                  </a:ln>
                  <a:solidFill>
                    <a:srgbClr val="FFFFFF"/>
                  </a:solidFill>
                  <a:effectLst/>
                  <a:uLnTx/>
                  <a:uFillTx/>
                  <a:latin typeface="Ubuntu Medium"/>
                  <a:ea typeface="+mn-ea"/>
                  <a:cs typeface="+mn-cs"/>
                </a:rPr>
                <a:t>TEXT</a:t>
              </a:r>
            </a:p>
          </p:txBody>
        </p:sp>
        <p:sp>
          <p:nvSpPr>
            <p:cNvPr id="11" name="Rectangle 10">
              <a:extLst>
                <a:ext uri="{FF2B5EF4-FFF2-40B4-BE49-F238E27FC236}">
                  <a16:creationId xmlns:a16="http://schemas.microsoft.com/office/drawing/2014/main" id="{1D838FC4-F1E5-EFF1-2F38-2AE019F0CCAC}"/>
                </a:ext>
              </a:extLst>
            </p:cNvPr>
            <p:cNvSpPr/>
            <p:nvPr/>
          </p:nvSpPr>
          <p:spPr>
            <a:xfrm>
              <a:off x="7525922" y="6162124"/>
              <a:ext cx="1421675" cy="307777"/>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0" normalizeH="0" baseline="0" noProof="0">
                  <a:ln>
                    <a:noFill/>
                  </a:ln>
                  <a:solidFill>
                    <a:srgbClr val="FFFFFF"/>
                  </a:solidFill>
                  <a:effectLst/>
                  <a:uLnTx/>
                  <a:uFillTx/>
                  <a:latin typeface="Ubuntu Medium"/>
                  <a:ea typeface="+mn-ea"/>
                  <a:cs typeface="+mn-cs"/>
                </a:rPr>
                <a:t>TEXT</a:t>
              </a:r>
            </a:p>
          </p:txBody>
        </p:sp>
        <p:sp>
          <p:nvSpPr>
            <p:cNvPr id="12" name="Rectangle 11">
              <a:extLst>
                <a:ext uri="{FF2B5EF4-FFF2-40B4-BE49-F238E27FC236}">
                  <a16:creationId xmlns:a16="http://schemas.microsoft.com/office/drawing/2014/main" id="{C390F69D-7DD6-60D1-4012-F736F1F66199}"/>
                </a:ext>
              </a:extLst>
            </p:cNvPr>
            <p:cNvSpPr/>
            <p:nvPr/>
          </p:nvSpPr>
          <p:spPr>
            <a:xfrm>
              <a:off x="8947596" y="6162124"/>
              <a:ext cx="1421675" cy="307777"/>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0" normalizeH="0" baseline="0" noProof="0">
                  <a:ln>
                    <a:noFill/>
                  </a:ln>
                  <a:solidFill>
                    <a:srgbClr val="FFFFFF"/>
                  </a:solidFill>
                  <a:effectLst/>
                  <a:uLnTx/>
                  <a:uFillTx/>
                  <a:latin typeface="Ubuntu Medium"/>
                  <a:ea typeface="+mn-ea"/>
                  <a:cs typeface="+mn-cs"/>
                </a:rPr>
                <a:t>TEXT</a:t>
              </a:r>
            </a:p>
          </p:txBody>
        </p:sp>
        <p:sp>
          <p:nvSpPr>
            <p:cNvPr id="13" name="Rectangle 12">
              <a:extLst>
                <a:ext uri="{FF2B5EF4-FFF2-40B4-BE49-F238E27FC236}">
                  <a16:creationId xmlns:a16="http://schemas.microsoft.com/office/drawing/2014/main" id="{FB8FDF54-99B1-BF4F-4DC2-E6659BC3ACED}"/>
                </a:ext>
              </a:extLst>
            </p:cNvPr>
            <p:cNvSpPr/>
            <p:nvPr/>
          </p:nvSpPr>
          <p:spPr>
            <a:xfrm>
              <a:off x="10369272" y="6162124"/>
              <a:ext cx="1421675" cy="307777"/>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all" spc="0" normalizeH="0" baseline="0" noProof="0">
                  <a:ln>
                    <a:noFill/>
                  </a:ln>
                  <a:solidFill>
                    <a:srgbClr val="12ABDB"/>
                  </a:solidFill>
                  <a:effectLst/>
                  <a:uLnTx/>
                  <a:uFillTx/>
                  <a:latin typeface="Ubuntu Medium"/>
                  <a:ea typeface="+mn-ea"/>
                  <a:cs typeface="+mn-cs"/>
                </a:rPr>
                <a:t>TEXT</a:t>
              </a:r>
            </a:p>
          </p:txBody>
        </p:sp>
        <p:sp>
          <p:nvSpPr>
            <p:cNvPr id="14" name="TextBox 75">
              <a:extLst>
                <a:ext uri="{FF2B5EF4-FFF2-40B4-BE49-F238E27FC236}">
                  <a16:creationId xmlns:a16="http://schemas.microsoft.com/office/drawing/2014/main" id="{FAFC74D8-F6D2-28C7-1EF0-BB3D12361A49}"/>
                </a:ext>
              </a:extLst>
            </p:cNvPr>
            <p:cNvSpPr txBox="1">
              <a:spLocks/>
            </p:cNvSpPr>
            <p:nvPr/>
          </p:nvSpPr>
          <p:spPr>
            <a:xfrm>
              <a:off x="404813" y="5983419"/>
              <a:ext cx="3314923" cy="123111"/>
            </a:xfrm>
            <a:prstGeom prst="rect">
              <a:avLst/>
            </a:prstGeom>
            <a:ln>
              <a:solidFill>
                <a:schemeClr val="bg1"/>
              </a:solidFill>
            </a:ln>
          </p:spPr>
          <p:txBody>
            <a:bodyPr vert="horz" wrap="square"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800" b="0" i="0" u="none" strike="noStrike" kern="1200" cap="none" spc="0" normalizeH="0" baseline="0" noProof="0" dirty="0">
                  <a:ln>
                    <a:noFill/>
                  </a:ln>
                  <a:solidFill>
                    <a:schemeClr val="bg1"/>
                  </a:solidFill>
                  <a:effectLst/>
                  <a:uLnTx/>
                  <a:uFillTx/>
                  <a:latin typeface="Ubuntu"/>
                  <a:ea typeface="+mn-ea"/>
                  <a:cs typeface="+mn-cs"/>
                </a:rPr>
                <a:t>Color </a:t>
              </a:r>
              <a:r>
                <a:rPr kumimoji="0" lang="en-US" sz="800" b="0" i="0" u="none" strike="noStrike" kern="1200" cap="none" spc="0" normalizeH="0" baseline="0" noProof="0" dirty="0" err="1">
                  <a:ln>
                    <a:noFill/>
                  </a:ln>
                  <a:solidFill>
                    <a:schemeClr val="bg1"/>
                  </a:solidFill>
                  <a:effectLst/>
                  <a:uLnTx/>
                  <a:uFillTx/>
                  <a:latin typeface="Ubuntu"/>
                  <a:ea typeface="+mn-ea"/>
                  <a:cs typeface="+mn-cs"/>
                </a:rPr>
                <a:t>gradie</a:t>
              </a:r>
              <a:r>
                <a:rPr kumimoji="0" lang="en-US" sz="800" b="0" i="0" u="none" strike="noStrike" kern="1200" cap="none" spc="0" normalizeH="0" baseline="0" noProof="0" dirty="0">
                  <a:ln>
                    <a:noFill/>
                  </a:ln>
                  <a:solidFill>
                    <a:schemeClr val="bg1"/>
                  </a:solidFill>
                  <a:effectLst/>
                  <a:uLnTx/>
                  <a:uFillTx/>
                  <a:latin typeface="Ubuntu"/>
                  <a:ea typeface="+mn-ea"/>
                  <a:cs typeface="+mn-cs"/>
                </a:rPr>
                <a:t> for manual coloring of charts, smart arts etc.</a:t>
              </a:r>
            </a:p>
          </p:txBody>
        </p:sp>
      </p:grpSp>
      <p:grpSp>
        <p:nvGrpSpPr>
          <p:cNvPr id="33" name="Group 32">
            <a:extLst>
              <a:ext uri="{FF2B5EF4-FFF2-40B4-BE49-F238E27FC236}">
                <a16:creationId xmlns:a16="http://schemas.microsoft.com/office/drawing/2014/main" id="{624E823E-2DA7-47B4-8312-9AF2343A6280}"/>
              </a:ext>
            </a:extLst>
          </p:cNvPr>
          <p:cNvGrpSpPr/>
          <p:nvPr/>
        </p:nvGrpSpPr>
        <p:grpSpPr>
          <a:xfrm>
            <a:off x="5241135" y="1434308"/>
            <a:ext cx="3458199" cy="4308373"/>
            <a:chOff x="7218495" y="1669136"/>
            <a:chExt cx="3458199" cy="4308373"/>
          </a:xfrm>
        </p:grpSpPr>
        <p:sp>
          <p:nvSpPr>
            <p:cNvPr id="34" name="TextBox 33">
              <a:extLst>
                <a:ext uri="{FF2B5EF4-FFF2-40B4-BE49-F238E27FC236}">
                  <a16:creationId xmlns:a16="http://schemas.microsoft.com/office/drawing/2014/main" id="{19E30126-5319-4B6C-A764-1CFCB75F9445}"/>
                </a:ext>
              </a:extLst>
            </p:cNvPr>
            <p:cNvSpPr txBox="1"/>
            <p:nvPr/>
          </p:nvSpPr>
          <p:spPr>
            <a:xfrm>
              <a:off x="7218496" y="1669136"/>
              <a:ext cx="3458197" cy="276999"/>
            </a:xfrm>
            <a:prstGeom prst="rect">
              <a:avLst/>
            </a:prstGeom>
          </p:spPr>
          <p:txBody>
            <a:bodyPr vert="horz" wrap="square" lIns="0" tIns="0" rIns="0" bIns="0" rtlCol="0" anchor="t" anchorCtr="0">
              <a:spAutoFit/>
            </a:bodyPr>
            <a:lstStyle/>
            <a:p>
              <a:pPr algn="ctr"/>
              <a:r>
                <a:rPr lang="en-IN" b="1" dirty="0">
                  <a:solidFill>
                    <a:schemeClr val="accent2"/>
                  </a:solidFill>
                </a:rPr>
                <a:t>WINNERS</a:t>
              </a:r>
              <a:endParaRPr lang="en-IN" sz="1200" b="1" dirty="0"/>
            </a:p>
          </p:txBody>
        </p:sp>
        <p:grpSp>
          <p:nvGrpSpPr>
            <p:cNvPr id="35" name="Group 34">
              <a:extLst>
                <a:ext uri="{FF2B5EF4-FFF2-40B4-BE49-F238E27FC236}">
                  <a16:creationId xmlns:a16="http://schemas.microsoft.com/office/drawing/2014/main" id="{1654E3FB-4C5B-4753-A4D2-D2E0A61D2950}"/>
                </a:ext>
              </a:extLst>
            </p:cNvPr>
            <p:cNvGrpSpPr/>
            <p:nvPr/>
          </p:nvGrpSpPr>
          <p:grpSpPr>
            <a:xfrm>
              <a:off x="7218497" y="2148105"/>
              <a:ext cx="3458197" cy="612541"/>
              <a:chOff x="7218497" y="2148105"/>
              <a:chExt cx="3458197" cy="612541"/>
            </a:xfrm>
          </p:grpSpPr>
          <p:sp>
            <p:nvSpPr>
              <p:cNvPr id="52" name="Rectangle 51">
                <a:extLst>
                  <a:ext uri="{FF2B5EF4-FFF2-40B4-BE49-F238E27FC236}">
                    <a16:creationId xmlns:a16="http://schemas.microsoft.com/office/drawing/2014/main" id="{CE90693D-D253-4CD5-8A85-2BAB1929C358}"/>
                  </a:ext>
                </a:extLst>
              </p:cNvPr>
              <p:cNvSpPr/>
              <p:nvPr/>
            </p:nvSpPr>
            <p:spPr>
              <a:xfrm>
                <a:off x="7522350" y="2148105"/>
                <a:ext cx="837978" cy="609158"/>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53" name="Text Placeholder 7">
                <a:extLst>
                  <a:ext uri="{FF2B5EF4-FFF2-40B4-BE49-F238E27FC236}">
                    <a16:creationId xmlns:a16="http://schemas.microsoft.com/office/drawing/2014/main" id="{300918BA-B466-4C41-91B8-30890E1D6CEC}"/>
                  </a:ext>
                </a:extLst>
              </p:cNvPr>
              <p:cNvSpPr txBox="1">
                <a:spLocks/>
              </p:cNvSpPr>
              <p:nvPr/>
            </p:nvSpPr>
            <p:spPr>
              <a:xfrm>
                <a:off x="7218497" y="2151488"/>
                <a:ext cx="606389" cy="609158"/>
              </a:xfrm>
              <a:prstGeom prst="homePlate">
                <a:avLst/>
              </a:prstGeom>
              <a:solidFill>
                <a:schemeClr val="bg1"/>
              </a:solidFill>
            </p:spPr>
            <p:txBody>
              <a:bodyPr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all" spc="0" normalizeH="0" baseline="0" noProof="0" dirty="0">
                    <a:ln>
                      <a:noFill/>
                    </a:ln>
                    <a:solidFill>
                      <a:srgbClr val="12ABDB"/>
                    </a:solidFill>
                    <a:effectLst/>
                    <a:uLnTx/>
                    <a:uFillTx/>
                    <a:latin typeface="Ubuntu Medium"/>
                    <a:ea typeface="+mn-ea"/>
                    <a:cs typeface="+mn-cs"/>
                  </a:rPr>
                  <a:t>#1</a:t>
                </a:r>
              </a:p>
            </p:txBody>
          </p:sp>
          <p:sp>
            <p:nvSpPr>
              <p:cNvPr id="54" name="Rectangle: Rounded Corners 39">
                <a:extLst>
                  <a:ext uri="{FF2B5EF4-FFF2-40B4-BE49-F238E27FC236}">
                    <a16:creationId xmlns:a16="http://schemas.microsoft.com/office/drawing/2014/main" id="{01497479-6A4C-4F13-892C-8B179E7402D7}"/>
                  </a:ext>
                </a:extLst>
              </p:cNvPr>
              <p:cNvSpPr/>
              <p:nvPr/>
            </p:nvSpPr>
            <p:spPr>
              <a:xfrm>
                <a:off x="7831041" y="2148105"/>
                <a:ext cx="2845653" cy="609158"/>
              </a:xfrm>
              <a:prstGeom prst="round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IN" sz="1400" b="1" dirty="0">
                    <a:solidFill>
                      <a:schemeClr val="bg1"/>
                    </a:solidFill>
                  </a:rPr>
                  <a:t>Virtual Elites</a:t>
                </a:r>
              </a:p>
              <a:p>
                <a:pPr algn="l"/>
                <a:r>
                  <a:rPr lang="en-IN" sz="1100" dirty="0">
                    <a:solidFill>
                      <a:schemeClr val="bg1"/>
                    </a:solidFill>
                  </a:rPr>
                  <a:t>Child Lock - Profanity Filters</a:t>
                </a:r>
              </a:p>
            </p:txBody>
          </p:sp>
        </p:grpSp>
        <p:grpSp>
          <p:nvGrpSpPr>
            <p:cNvPr id="36" name="Group 35">
              <a:extLst>
                <a:ext uri="{FF2B5EF4-FFF2-40B4-BE49-F238E27FC236}">
                  <a16:creationId xmlns:a16="http://schemas.microsoft.com/office/drawing/2014/main" id="{C267CF63-6E01-40FA-880A-1CDEE0B316B4}"/>
                </a:ext>
              </a:extLst>
            </p:cNvPr>
            <p:cNvGrpSpPr/>
            <p:nvPr/>
          </p:nvGrpSpPr>
          <p:grpSpPr>
            <a:xfrm>
              <a:off x="7218495" y="4570373"/>
              <a:ext cx="3458197" cy="614205"/>
              <a:chOff x="7218497" y="2143058"/>
              <a:chExt cx="3458197" cy="614205"/>
            </a:xfrm>
          </p:grpSpPr>
          <p:sp>
            <p:nvSpPr>
              <p:cNvPr id="49" name="Rectangle 48">
                <a:extLst>
                  <a:ext uri="{FF2B5EF4-FFF2-40B4-BE49-F238E27FC236}">
                    <a16:creationId xmlns:a16="http://schemas.microsoft.com/office/drawing/2014/main" id="{AEC2E4CE-DA16-44CB-93A5-82F7EE0A6DB6}"/>
                  </a:ext>
                </a:extLst>
              </p:cNvPr>
              <p:cNvSpPr/>
              <p:nvPr/>
            </p:nvSpPr>
            <p:spPr>
              <a:xfrm>
                <a:off x="7522350" y="2148105"/>
                <a:ext cx="837978" cy="609158"/>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50" name="Text Placeholder 7">
                <a:extLst>
                  <a:ext uri="{FF2B5EF4-FFF2-40B4-BE49-F238E27FC236}">
                    <a16:creationId xmlns:a16="http://schemas.microsoft.com/office/drawing/2014/main" id="{80F892B3-AAA9-4A73-990E-233611432A44}"/>
                  </a:ext>
                </a:extLst>
              </p:cNvPr>
              <p:cNvSpPr txBox="1">
                <a:spLocks/>
              </p:cNvSpPr>
              <p:nvPr/>
            </p:nvSpPr>
            <p:spPr>
              <a:xfrm>
                <a:off x="7218497" y="2143058"/>
                <a:ext cx="606389" cy="609158"/>
              </a:xfrm>
              <a:prstGeom prst="homePlate">
                <a:avLst/>
              </a:prstGeom>
              <a:solidFill>
                <a:schemeClr val="bg1"/>
              </a:solidFill>
            </p:spPr>
            <p:txBody>
              <a:bodyPr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all" spc="0" normalizeH="0" baseline="0" noProof="0" dirty="0">
                    <a:ln>
                      <a:noFill/>
                    </a:ln>
                    <a:solidFill>
                      <a:srgbClr val="12ABDB"/>
                    </a:solidFill>
                    <a:effectLst/>
                    <a:uLnTx/>
                    <a:uFillTx/>
                    <a:latin typeface="Ubuntu Medium"/>
                    <a:ea typeface="+mn-ea"/>
                    <a:cs typeface="+mn-cs"/>
                  </a:rPr>
                  <a:t>#3</a:t>
                </a:r>
              </a:p>
            </p:txBody>
          </p:sp>
          <p:sp>
            <p:nvSpPr>
              <p:cNvPr id="51" name="Rectangle: Rounded Corners 39">
                <a:extLst>
                  <a:ext uri="{FF2B5EF4-FFF2-40B4-BE49-F238E27FC236}">
                    <a16:creationId xmlns:a16="http://schemas.microsoft.com/office/drawing/2014/main" id="{932CC48C-FE0E-4BF5-8AD5-39EB6D472820}"/>
                  </a:ext>
                </a:extLst>
              </p:cNvPr>
              <p:cNvSpPr/>
              <p:nvPr/>
            </p:nvSpPr>
            <p:spPr>
              <a:xfrm>
                <a:off x="7831041" y="2148105"/>
                <a:ext cx="2845653" cy="609158"/>
              </a:xfrm>
              <a:prstGeom prst="round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IN" sz="1400" b="1" dirty="0">
                    <a:solidFill>
                      <a:schemeClr val="bg1"/>
                    </a:solidFill>
                  </a:rPr>
                  <a:t>A-Team</a:t>
                </a:r>
              </a:p>
              <a:p>
                <a:pPr algn="l"/>
                <a:r>
                  <a:rPr lang="en-IN" sz="1100" dirty="0">
                    <a:solidFill>
                      <a:schemeClr val="bg1"/>
                    </a:solidFill>
                  </a:rPr>
                  <a:t>A.Eye - AI powered media analyser</a:t>
                </a:r>
              </a:p>
            </p:txBody>
          </p:sp>
        </p:grpSp>
        <p:grpSp>
          <p:nvGrpSpPr>
            <p:cNvPr id="37" name="Group 36">
              <a:extLst>
                <a:ext uri="{FF2B5EF4-FFF2-40B4-BE49-F238E27FC236}">
                  <a16:creationId xmlns:a16="http://schemas.microsoft.com/office/drawing/2014/main" id="{5ECC98F9-1445-43A5-BB1E-94ACD098BFA7}"/>
                </a:ext>
              </a:extLst>
            </p:cNvPr>
            <p:cNvGrpSpPr/>
            <p:nvPr/>
          </p:nvGrpSpPr>
          <p:grpSpPr>
            <a:xfrm>
              <a:off x="7218496" y="2954138"/>
              <a:ext cx="3458197" cy="612541"/>
              <a:chOff x="7218497" y="2144722"/>
              <a:chExt cx="3458197" cy="612541"/>
            </a:xfrm>
          </p:grpSpPr>
          <p:sp>
            <p:nvSpPr>
              <p:cNvPr id="46" name="Rectangle 45">
                <a:extLst>
                  <a:ext uri="{FF2B5EF4-FFF2-40B4-BE49-F238E27FC236}">
                    <a16:creationId xmlns:a16="http://schemas.microsoft.com/office/drawing/2014/main" id="{4993ADBF-3D3C-4FF5-A330-7AFA34D1FEF3}"/>
                  </a:ext>
                </a:extLst>
              </p:cNvPr>
              <p:cNvSpPr/>
              <p:nvPr/>
            </p:nvSpPr>
            <p:spPr>
              <a:xfrm>
                <a:off x="7522350" y="2148105"/>
                <a:ext cx="837978" cy="609158"/>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47" name="Text Placeholder 7">
                <a:extLst>
                  <a:ext uri="{FF2B5EF4-FFF2-40B4-BE49-F238E27FC236}">
                    <a16:creationId xmlns:a16="http://schemas.microsoft.com/office/drawing/2014/main" id="{98F9232F-F940-4F19-B2C5-87E4443EE906}"/>
                  </a:ext>
                </a:extLst>
              </p:cNvPr>
              <p:cNvSpPr txBox="1">
                <a:spLocks/>
              </p:cNvSpPr>
              <p:nvPr/>
            </p:nvSpPr>
            <p:spPr>
              <a:xfrm>
                <a:off x="7218497" y="2144722"/>
                <a:ext cx="606389" cy="609158"/>
              </a:xfrm>
              <a:prstGeom prst="homePlate">
                <a:avLst/>
              </a:prstGeom>
              <a:solidFill>
                <a:schemeClr val="bg1"/>
              </a:solidFill>
            </p:spPr>
            <p:txBody>
              <a:bodyPr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all" spc="0" normalizeH="0" baseline="0" noProof="0" dirty="0">
                    <a:ln>
                      <a:noFill/>
                    </a:ln>
                    <a:solidFill>
                      <a:srgbClr val="12ABDB"/>
                    </a:solidFill>
                    <a:effectLst/>
                    <a:uLnTx/>
                    <a:uFillTx/>
                    <a:latin typeface="Ubuntu Medium"/>
                    <a:ea typeface="+mn-ea"/>
                    <a:cs typeface="+mn-cs"/>
                  </a:rPr>
                  <a:t>#2</a:t>
                </a:r>
              </a:p>
            </p:txBody>
          </p:sp>
          <p:sp>
            <p:nvSpPr>
              <p:cNvPr id="48" name="Rectangle: Rounded Corners 39">
                <a:extLst>
                  <a:ext uri="{FF2B5EF4-FFF2-40B4-BE49-F238E27FC236}">
                    <a16:creationId xmlns:a16="http://schemas.microsoft.com/office/drawing/2014/main" id="{2F8B193F-CEF2-4040-AD96-2D9821BCF930}"/>
                  </a:ext>
                </a:extLst>
              </p:cNvPr>
              <p:cNvSpPr/>
              <p:nvPr/>
            </p:nvSpPr>
            <p:spPr>
              <a:xfrm>
                <a:off x="7831041" y="2148105"/>
                <a:ext cx="2845653" cy="609158"/>
              </a:xfrm>
              <a:prstGeom prst="round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IN" sz="1400" b="1" dirty="0">
                    <a:solidFill>
                      <a:schemeClr val="bg1"/>
                    </a:solidFill>
                  </a:rPr>
                  <a:t>Team GCP-LAB </a:t>
                </a:r>
              </a:p>
              <a:p>
                <a:pPr algn="l"/>
                <a:r>
                  <a:rPr lang="en-IN" sz="1100" dirty="0">
                    <a:solidFill>
                      <a:schemeClr val="bg1"/>
                    </a:solidFill>
                  </a:rPr>
                  <a:t>Automating Solutions for Customer Care Problems using AI/ML</a:t>
                </a:r>
              </a:p>
            </p:txBody>
          </p:sp>
        </p:grpSp>
        <p:grpSp>
          <p:nvGrpSpPr>
            <p:cNvPr id="38" name="Group 37">
              <a:extLst>
                <a:ext uri="{FF2B5EF4-FFF2-40B4-BE49-F238E27FC236}">
                  <a16:creationId xmlns:a16="http://schemas.microsoft.com/office/drawing/2014/main" id="{551B4AF9-72A5-427C-ACFE-849E3E15BFAB}"/>
                </a:ext>
              </a:extLst>
            </p:cNvPr>
            <p:cNvGrpSpPr/>
            <p:nvPr/>
          </p:nvGrpSpPr>
          <p:grpSpPr>
            <a:xfrm>
              <a:off x="7218496" y="3757804"/>
              <a:ext cx="3458197" cy="613444"/>
              <a:chOff x="7218497" y="2148105"/>
              <a:chExt cx="3458197" cy="613444"/>
            </a:xfrm>
          </p:grpSpPr>
          <p:sp>
            <p:nvSpPr>
              <p:cNvPr id="43" name="Rectangle 42">
                <a:extLst>
                  <a:ext uri="{FF2B5EF4-FFF2-40B4-BE49-F238E27FC236}">
                    <a16:creationId xmlns:a16="http://schemas.microsoft.com/office/drawing/2014/main" id="{2D883383-F0E2-4B2E-8678-7E443CE45319}"/>
                  </a:ext>
                </a:extLst>
              </p:cNvPr>
              <p:cNvSpPr/>
              <p:nvPr/>
            </p:nvSpPr>
            <p:spPr>
              <a:xfrm>
                <a:off x="7522350" y="2148105"/>
                <a:ext cx="837978" cy="609158"/>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44" name="Text Placeholder 7">
                <a:extLst>
                  <a:ext uri="{FF2B5EF4-FFF2-40B4-BE49-F238E27FC236}">
                    <a16:creationId xmlns:a16="http://schemas.microsoft.com/office/drawing/2014/main" id="{331004EF-0DC4-4B04-A98B-3567F017E8B6}"/>
                  </a:ext>
                </a:extLst>
              </p:cNvPr>
              <p:cNvSpPr txBox="1">
                <a:spLocks/>
              </p:cNvSpPr>
              <p:nvPr/>
            </p:nvSpPr>
            <p:spPr>
              <a:xfrm>
                <a:off x="7218497" y="2152391"/>
                <a:ext cx="606389" cy="609158"/>
              </a:xfrm>
              <a:prstGeom prst="homePlate">
                <a:avLst/>
              </a:prstGeom>
              <a:solidFill>
                <a:schemeClr val="bg1"/>
              </a:solidFill>
            </p:spPr>
            <p:txBody>
              <a:bodyPr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all" spc="0" normalizeH="0" baseline="0" noProof="0" dirty="0">
                    <a:ln>
                      <a:noFill/>
                    </a:ln>
                    <a:solidFill>
                      <a:srgbClr val="12ABDB"/>
                    </a:solidFill>
                    <a:effectLst/>
                    <a:uLnTx/>
                    <a:uFillTx/>
                    <a:latin typeface="Ubuntu Medium"/>
                    <a:ea typeface="+mn-ea"/>
                    <a:cs typeface="+mn-cs"/>
                  </a:rPr>
                  <a:t>#3</a:t>
                </a:r>
              </a:p>
            </p:txBody>
          </p:sp>
          <p:sp>
            <p:nvSpPr>
              <p:cNvPr id="45" name="Rectangle: Rounded Corners 39">
                <a:extLst>
                  <a:ext uri="{FF2B5EF4-FFF2-40B4-BE49-F238E27FC236}">
                    <a16:creationId xmlns:a16="http://schemas.microsoft.com/office/drawing/2014/main" id="{7CDDB541-B21C-48ED-8CD8-C93A3BB3652C}"/>
                  </a:ext>
                </a:extLst>
              </p:cNvPr>
              <p:cNvSpPr/>
              <p:nvPr/>
            </p:nvSpPr>
            <p:spPr>
              <a:xfrm>
                <a:off x="7831041" y="2148105"/>
                <a:ext cx="2845653" cy="609158"/>
              </a:xfrm>
              <a:prstGeom prst="round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IN" sz="1400" b="1" dirty="0">
                    <a:solidFill>
                      <a:schemeClr val="bg1"/>
                    </a:solidFill>
                  </a:rPr>
                  <a:t>Data Trust Strategists</a:t>
                </a:r>
              </a:p>
              <a:p>
                <a:pPr algn="l"/>
                <a:r>
                  <a:rPr lang="en-IN" sz="1100" dirty="0">
                    <a:solidFill>
                      <a:schemeClr val="bg1"/>
                    </a:solidFill>
                  </a:rPr>
                  <a:t>AI driven  Intelligent Data Quality</a:t>
                </a:r>
              </a:p>
              <a:p>
                <a:pPr algn="l"/>
                <a:r>
                  <a:rPr lang="en-IN" sz="1100" dirty="0">
                    <a:solidFill>
                      <a:schemeClr val="bg1"/>
                    </a:solidFill>
                  </a:rPr>
                  <a:t>&amp;  Value Reconciliation Framework</a:t>
                </a:r>
                <a:endParaRPr lang="en-IN" sz="1200" dirty="0">
                  <a:solidFill>
                    <a:schemeClr val="bg1"/>
                  </a:solidFill>
                </a:endParaRPr>
              </a:p>
            </p:txBody>
          </p:sp>
        </p:grpSp>
        <p:grpSp>
          <p:nvGrpSpPr>
            <p:cNvPr id="39" name="Group 38">
              <a:extLst>
                <a:ext uri="{FF2B5EF4-FFF2-40B4-BE49-F238E27FC236}">
                  <a16:creationId xmlns:a16="http://schemas.microsoft.com/office/drawing/2014/main" id="{68825D30-DF21-4980-9E0A-2C7799CBE1BF}"/>
                </a:ext>
              </a:extLst>
            </p:cNvPr>
            <p:cNvGrpSpPr/>
            <p:nvPr/>
          </p:nvGrpSpPr>
          <p:grpSpPr>
            <a:xfrm>
              <a:off x="7218495" y="5365137"/>
              <a:ext cx="3458197" cy="612372"/>
              <a:chOff x="7218497" y="2148105"/>
              <a:chExt cx="3458197" cy="612372"/>
            </a:xfrm>
          </p:grpSpPr>
          <p:sp>
            <p:nvSpPr>
              <p:cNvPr id="40" name="Rectangle 39">
                <a:extLst>
                  <a:ext uri="{FF2B5EF4-FFF2-40B4-BE49-F238E27FC236}">
                    <a16:creationId xmlns:a16="http://schemas.microsoft.com/office/drawing/2014/main" id="{12D31F91-CA7C-485A-8DEC-5B5A011D7479}"/>
                  </a:ext>
                </a:extLst>
              </p:cNvPr>
              <p:cNvSpPr/>
              <p:nvPr/>
            </p:nvSpPr>
            <p:spPr>
              <a:xfrm>
                <a:off x="7522350" y="2148105"/>
                <a:ext cx="837978" cy="609158"/>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41" name="Text Placeholder 7">
                <a:extLst>
                  <a:ext uri="{FF2B5EF4-FFF2-40B4-BE49-F238E27FC236}">
                    <a16:creationId xmlns:a16="http://schemas.microsoft.com/office/drawing/2014/main" id="{0AE19A05-BDEB-4854-B164-8BB9D81B2110}"/>
                  </a:ext>
                </a:extLst>
              </p:cNvPr>
              <p:cNvSpPr txBox="1">
                <a:spLocks/>
              </p:cNvSpPr>
              <p:nvPr/>
            </p:nvSpPr>
            <p:spPr>
              <a:xfrm>
                <a:off x="7218497" y="2151319"/>
                <a:ext cx="606389" cy="609158"/>
              </a:xfrm>
              <a:prstGeom prst="homePlate">
                <a:avLst/>
              </a:prstGeom>
              <a:solidFill>
                <a:schemeClr val="bg1"/>
              </a:solidFill>
            </p:spPr>
            <p:txBody>
              <a:bodyPr anchor="ctr"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1" kern="1200" baseline="0">
                    <a:solidFill>
                      <a:srgbClr val="12ABDB"/>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2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all" spc="0" normalizeH="0" baseline="0" noProof="0" dirty="0">
                    <a:ln>
                      <a:noFill/>
                    </a:ln>
                    <a:solidFill>
                      <a:srgbClr val="12ABDB"/>
                    </a:solidFill>
                    <a:effectLst/>
                    <a:uLnTx/>
                    <a:uFillTx/>
                    <a:latin typeface="Ubuntu Medium"/>
                    <a:ea typeface="+mn-ea"/>
                    <a:cs typeface="+mn-cs"/>
                  </a:rPr>
                  <a:t>#3</a:t>
                </a:r>
              </a:p>
            </p:txBody>
          </p:sp>
          <p:sp>
            <p:nvSpPr>
              <p:cNvPr id="42" name="Rectangle: Rounded Corners 39">
                <a:extLst>
                  <a:ext uri="{FF2B5EF4-FFF2-40B4-BE49-F238E27FC236}">
                    <a16:creationId xmlns:a16="http://schemas.microsoft.com/office/drawing/2014/main" id="{19B0D1DC-F87D-4C28-A8D7-89C2AFF486E4}"/>
                  </a:ext>
                </a:extLst>
              </p:cNvPr>
              <p:cNvSpPr/>
              <p:nvPr/>
            </p:nvSpPr>
            <p:spPr>
              <a:xfrm>
                <a:off x="7831041" y="2148105"/>
                <a:ext cx="2845653" cy="609158"/>
              </a:xfrm>
              <a:prstGeom prst="round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IN" sz="1400" b="1" dirty="0">
                    <a:solidFill>
                      <a:schemeClr val="bg1"/>
                    </a:solidFill>
                  </a:rPr>
                  <a:t>Tech Champs</a:t>
                </a:r>
              </a:p>
              <a:p>
                <a:pPr algn="l"/>
                <a:r>
                  <a:rPr lang="en-IN" sz="1100" dirty="0">
                    <a:solidFill>
                      <a:schemeClr val="bg1"/>
                    </a:solidFill>
                  </a:rPr>
                  <a:t>Shoppable Commerce for OTT Media</a:t>
                </a:r>
              </a:p>
            </p:txBody>
          </p:sp>
        </p:grpSp>
      </p:grpSp>
      <p:sp>
        <p:nvSpPr>
          <p:cNvPr id="2" name="TextBox 1">
            <a:extLst>
              <a:ext uri="{FF2B5EF4-FFF2-40B4-BE49-F238E27FC236}">
                <a16:creationId xmlns:a16="http://schemas.microsoft.com/office/drawing/2014/main" id="{6E40C805-97AB-4C0F-99EA-D34BA36CC444}"/>
              </a:ext>
            </a:extLst>
          </p:cNvPr>
          <p:cNvSpPr txBox="1"/>
          <p:nvPr/>
        </p:nvSpPr>
        <p:spPr>
          <a:xfrm>
            <a:off x="2269317" y="3343258"/>
            <a:ext cx="994299" cy="861774"/>
          </a:xfrm>
          <a:prstGeom prst="rect">
            <a:avLst/>
          </a:prstGeom>
        </p:spPr>
        <p:txBody>
          <a:bodyPr vert="horz" wrap="square" lIns="0" tIns="0" rIns="0" bIns="0" rtlCol="0" anchor="t" anchorCtr="0">
            <a:spAutoFit/>
          </a:bodyPr>
          <a:lstStyle/>
          <a:p>
            <a:pPr algn="ctr"/>
            <a:r>
              <a:rPr lang="en-IN" sz="2400" b="1" dirty="0">
                <a:solidFill>
                  <a:schemeClr val="bg1"/>
                </a:solidFill>
              </a:rPr>
              <a:t>5</a:t>
            </a:r>
            <a:r>
              <a:rPr lang="en-IN" sz="1600" b="1" dirty="0">
                <a:solidFill>
                  <a:schemeClr val="accent1">
                    <a:lumMod val="60000"/>
                    <a:lumOff val="40000"/>
                  </a:schemeClr>
                </a:solidFill>
              </a:rPr>
              <a:t> </a:t>
            </a:r>
            <a:r>
              <a:rPr lang="en-IN" sz="1600" b="1" dirty="0">
                <a:solidFill>
                  <a:srgbClr val="12ABDB"/>
                </a:solidFill>
              </a:rPr>
              <a:t>Winning Teams</a:t>
            </a:r>
          </a:p>
        </p:txBody>
      </p:sp>
      <p:sp>
        <p:nvSpPr>
          <p:cNvPr id="55" name="TextBox 54">
            <a:extLst>
              <a:ext uri="{FF2B5EF4-FFF2-40B4-BE49-F238E27FC236}">
                <a16:creationId xmlns:a16="http://schemas.microsoft.com/office/drawing/2014/main" id="{31832980-3803-4F5F-9F82-1C866DA8057D}"/>
              </a:ext>
            </a:extLst>
          </p:cNvPr>
          <p:cNvSpPr txBox="1"/>
          <p:nvPr/>
        </p:nvSpPr>
        <p:spPr>
          <a:xfrm>
            <a:off x="8699334" y="1434308"/>
            <a:ext cx="3458197" cy="276999"/>
          </a:xfrm>
          <a:prstGeom prst="rect">
            <a:avLst/>
          </a:prstGeom>
        </p:spPr>
        <p:txBody>
          <a:bodyPr vert="horz" wrap="square" lIns="0" tIns="0" rIns="0" bIns="0" rtlCol="0" anchor="t" anchorCtr="0">
            <a:spAutoFit/>
          </a:bodyPr>
          <a:lstStyle/>
          <a:p>
            <a:pPr algn="ctr"/>
            <a:r>
              <a:rPr lang="en-IN" b="1" dirty="0">
                <a:solidFill>
                  <a:srgbClr val="12ABDB"/>
                </a:solidFill>
              </a:rPr>
              <a:t>WINNERS</a:t>
            </a:r>
            <a:r>
              <a:rPr lang="en-IN" b="1" dirty="0">
                <a:solidFill>
                  <a:schemeClr val="accent2"/>
                </a:solidFill>
              </a:rPr>
              <a:t> </a:t>
            </a:r>
            <a:r>
              <a:rPr lang="en-IN" b="1" dirty="0">
                <a:solidFill>
                  <a:srgbClr val="12ABDB"/>
                </a:solidFill>
              </a:rPr>
              <a:t>SPEAK</a:t>
            </a:r>
            <a:r>
              <a:rPr lang="en-IN" b="1" dirty="0">
                <a:solidFill>
                  <a:schemeClr val="accent2"/>
                </a:solidFill>
              </a:rPr>
              <a:t> </a:t>
            </a:r>
            <a:endParaRPr lang="en-IN" sz="1200" b="1" dirty="0"/>
          </a:p>
        </p:txBody>
      </p:sp>
      <p:sp>
        <p:nvSpPr>
          <p:cNvPr id="15" name="Rectangle 14">
            <a:extLst>
              <a:ext uri="{FF2B5EF4-FFF2-40B4-BE49-F238E27FC236}">
                <a16:creationId xmlns:a16="http://schemas.microsoft.com/office/drawing/2014/main" id="{4C4EC336-C58B-4D01-A866-E2761C10AC32}"/>
              </a:ext>
            </a:extLst>
          </p:cNvPr>
          <p:cNvSpPr>
            <a:spLocks noChangeAspect="1"/>
          </p:cNvSpPr>
          <p:nvPr/>
        </p:nvSpPr>
        <p:spPr>
          <a:xfrm>
            <a:off x="9479304" y="1913277"/>
            <a:ext cx="1898249" cy="1067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17" name="TextBox 16">
            <a:hlinkClick r:id="rId7"/>
            <a:extLst>
              <a:ext uri="{FF2B5EF4-FFF2-40B4-BE49-F238E27FC236}">
                <a16:creationId xmlns:a16="http://schemas.microsoft.com/office/drawing/2014/main" id="{175843A5-D5CF-43AA-93CA-AB17050C11BE}"/>
              </a:ext>
            </a:extLst>
          </p:cNvPr>
          <p:cNvSpPr txBox="1"/>
          <p:nvPr/>
        </p:nvSpPr>
        <p:spPr>
          <a:xfrm>
            <a:off x="9043476" y="5543414"/>
            <a:ext cx="2769907" cy="215444"/>
          </a:xfrm>
          <a:prstGeom prst="rect">
            <a:avLst/>
          </a:prstGeom>
        </p:spPr>
        <p:txBody>
          <a:bodyPr vert="horz" wrap="square" lIns="0" tIns="0" rIns="0" bIns="0" rtlCol="0" anchor="t" anchorCtr="0">
            <a:spAutoFit/>
          </a:bodyPr>
          <a:lstStyle/>
          <a:p>
            <a:pPr algn="ctr"/>
            <a:r>
              <a:rPr lang="en-IN" sz="1400" b="1" i="1" u="sng" dirty="0">
                <a:solidFill>
                  <a:schemeClr val="bg1"/>
                </a:solidFill>
              </a:rPr>
              <a:t>View More</a:t>
            </a:r>
          </a:p>
        </p:txBody>
      </p:sp>
      <p:pic>
        <p:nvPicPr>
          <p:cNvPr id="19" name="Picture 18">
            <a:hlinkClick r:id="rId8"/>
            <a:extLst>
              <a:ext uri="{FF2B5EF4-FFF2-40B4-BE49-F238E27FC236}">
                <a16:creationId xmlns:a16="http://schemas.microsoft.com/office/drawing/2014/main" id="{2CE1BC75-1646-4918-8CD7-3A574BE60056}"/>
              </a:ext>
            </a:extLst>
          </p:cNvPr>
          <p:cNvPicPr>
            <a:picLocks noChangeAspect="1"/>
          </p:cNvPicPr>
          <p:nvPr/>
        </p:nvPicPr>
        <p:blipFill>
          <a:blip r:embed="rId9"/>
          <a:stretch>
            <a:fillRect/>
          </a:stretch>
        </p:blipFill>
        <p:spPr>
          <a:xfrm>
            <a:off x="9464409" y="1901389"/>
            <a:ext cx="1906852" cy="1067765"/>
          </a:xfrm>
          <a:prstGeom prst="rect">
            <a:avLst/>
          </a:prstGeom>
          <a:ln>
            <a:solidFill>
              <a:schemeClr val="bg1"/>
            </a:solidFill>
          </a:ln>
        </p:spPr>
      </p:pic>
      <p:sp>
        <p:nvSpPr>
          <p:cNvPr id="61" name="Rectangle 60">
            <a:extLst>
              <a:ext uri="{FF2B5EF4-FFF2-40B4-BE49-F238E27FC236}">
                <a16:creationId xmlns:a16="http://schemas.microsoft.com/office/drawing/2014/main" id="{3D2ACC6F-68A6-4B30-97B1-2C28222A85B0}"/>
              </a:ext>
            </a:extLst>
          </p:cNvPr>
          <p:cNvSpPr>
            <a:spLocks noChangeAspect="1"/>
          </p:cNvSpPr>
          <p:nvPr/>
        </p:nvSpPr>
        <p:spPr>
          <a:xfrm>
            <a:off x="9479304" y="3137268"/>
            <a:ext cx="1898249" cy="1067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62" name="Rectangle 61">
            <a:extLst>
              <a:ext uri="{FF2B5EF4-FFF2-40B4-BE49-F238E27FC236}">
                <a16:creationId xmlns:a16="http://schemas.microsoft.com/office/drawing/2014/main" id="{D73F0D6A-C810-42FC-8223-22CE55B8D418}"/>
              </a:ext>
            </a:extLst>
          </p:cNvPr>
          <p:cNvSpPr>
            <a:spLocks noChangeAspect="1"/>
          </p:cNvSpPr>
          <p:nvPr/>
        </p:nvSpPr>
        <p:spPr>
          <a:xfrm>
            <a:off x="9471865" y="4377033"/>
            <a:ext cx="1898249" cy="1067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pic>
        <p:nvPicPr>
          <p:cNvPr id="63" name="Picture 62">
            <a:hlinkClick r:id="rId10"/>
            <a:extLst>
              <a:ext uri="{FF2B5EF4-FFF2-40B4-BE49-F238E27FC236}">
                <a16:creationId xmlns:a16="http://schemas.microsoft.com/office/drawing/2014/main" id="{CF99C4F8-3844-45AC-B821-786F930A3EF2}"/>
              </a:ext>
            </a:extLst>
          </p:cNvPr>
          <p:cNvPicPr>
            <a:picLocks noChangeAspect="1"/>
          </p:cNvPicPr>
          <p:nvPr/>
        </p:nvPicPr>
        <p:blipFill rotWithShape="1">
          <a:blip r:embed="rId11"/>
          <a:srcRect l="4832" r="4602"/>
          <a:stretch/>
        </p:blipFill>
        <p:spPr>
          <a:xfrm>
            <a:off x="9461323" y="3137268"/>
            <a:ext cx="1902498" cy="1067764"/>
          </a:xfrm>
          <a:prstGeom prst="rect">
            <a:avLst/>
          </a:prstGeom>
        </p:spPr>
      </p:pic>
      <p:pic>
        <p:nvPicPr>
          <p:cNvPr id="25" name="Picture 24">
            <a:hlinkClick r:id="rId12"/>
            <a:extLst>
              <a:ext uri="{FF2B5EF4-FFF2-40B4-BE49-F238E27FC236}">
                <a16:creationId xmlns:a16="http://schemas.microsoft.com/office/drawing/2014/main" id="{373754D0-EED3-4F83-893A-541FEB1C9A09}"/>
              </a:ext>
            </a:extLst>
          </p:cNvPr>
          <p:cNvPicPr>
            <a:picLocks noChangeAspect="1"/>
          </p:cNvPicPr>
          <p:nvPr/>
        </p:nvPicPr>
        <p:blipFill rotWithShape="1">
          <a:blip r:embed="rId13"/>
          <a:srcRect l="1530" r="2746"/>
          <a:stretch/>
        </p:blipFill>
        <p:spPr>
          <a:xfrm>
            <a:off x="9453884" y="4373146"/>
            <a:ext cx="1909937" cy="1072397"/>
          </a:xfrm>
          <a:prstGeom prst="rect">
            <a:avLst/>
          </a:prstGeom>
        </p:spPr>
      </p:pic>
      <p:sp>
        <p:nvSpPr>
          <p:cNvPr id="18" name="Rectangle 17">
            <a:extLst>
              <a:ext uri="{FF2B5EF4-FFF2-40B4-BE49-F238E27FC236}">
                <a16:creationId xmlns:a16="http://schemas.microsoft.com/office/drawing/2014/main" id="{438F6612-E404-4A9E-8590-125B86681227}"/>
              </a:ext>
            </a:extLst>
          </p:cNvPr>
          <p:cNvSpPr/>
          <p:nvPr/>
        </p:nvSpPr>
        <p:spPr>
          <a:xfrm>
            <a:off x="11465169" y="123092"/>
            <a:ext cx="571500" cy="694593"/>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Tree>
    <p:extLst>
      <p:ext uri="{BB962C8B-B14F-4D97-AF65-F5344CB8AC3E}">
        <p14:creationId xmlns:p14="http://schemas.microsoft.com/office/powerpoint/2010/main" val="2937946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hlinkClick r:id="rId2"/>
            <a:extLst>
              <a:ext uri="{FF2B5EF4-FFF2-40B4-BE49-F238E27FC236}">
                <a16:creationId xmlns:a16="http://schemas.microsoft.com/office/drawing/2014/main" id="{C6E14895-4F41-427C-952C-EB14F8AA82CD}"/>
              </a:ext>
            </a:extLst>
          </p:cNvPr>
          <p:cNvSpPr/>
          <p:nvPr/>
        </p:nvSpPr>
        <p:spPr>
          <a:xfrm>
            <a:off x="3960962" y="2911415"/>
            <a:ext cx="4270076" cy="1035170"/>
          </a:xfrm>
          <a:prstGeom prst="roundRect">
            <a:avLst/>
          </a:prstGeom>
          <a:solidFill>
            <a:srgbClr val="12ABDB"/>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200" b="1" dirty="0">
                <a:solidFill>
                  <a:schemeClr val="bg1"/>
                </a:solidFill>
              </a:rPr>
              <a:t>CLICK HERE TO REGISTER</a:t>
            </a:r>
          </a:p>
        </p:txBody>
      </p:sp>
      <p:sp>
        <p:nvSpPr>
          <p:cNvPr id="6" name="Title 3">
            <a:extLst>
              <a:ext uri="{FF2B5EF4-FFF2-40B4-BE49-F238E27FC236}">
                <a16:creationId xmlns:a16="http://schemas.microsoft.com/office/drawing/2014/main" id="{09FBF996-5D4F-4CA8-813F-71F4A956E1DF}"/>
              </a:ext>
            </a:extLst>
          </p:cNvPr>
          <p:cNvSpPr txBox="1">
            <a:spLocks/>
          </p:cNvSpPr>
          <p:nvPr/>
        </p:nvSpPr>
        <p:spPr>
          <a:xfrm>
            <a:off x="563887" y="482934"/>
            <a:ext cx="12192000" cy="954107"/>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4000" b="1" dirty="0">
                <a:solidFill>
                  <a:srgbClr val="FFFFFF"/>
                </a:solidFill>
                <a:latin typeface="Ubuntu" panose="020B0504030602030204" pitchFamily="34" charset="0"/>
              </a:rPr>
              <a:t>Register</a:t>
            </a:r>
            <a:r>
              <a:rPr kumimoji="0" lang="en-IN" sz="4000" b="1" i="0" u="none" strike="noStrike" kern="1200" cap="all" spc="0" normalizeH="0" baseline="0" noProof="0" dirty="0">
                <a:ln>
                  <a:noFill/>
                </a:ln>
                <a:solidFill>
                  <a:srgbClr val="FFFFFF"/>
                </a:solidFill>
                <a:effectLst/>
                <a:uLnTx/>
                <a:uFillTx/>
                <a:latin typeface="Ubuntu" panose="020B0504030602030204" pitchFamily="34" charset="0"/>
                <a:ea typeface="+mj-ea"/>
                <a:cs typeface="+mj-cs"/>
              </a:rPr>
              <a:t> </a:t>
            </a:r>
            <a:r>
              <a:rPr kumimoji="0" lang="en-IN" sz="4000" b="1" i="0" u="none" strike="noStrike" kern="1200" cap="all" spc="0" normalizeH="0" baseline="0" noProof="0" dirty="0">
                <a:ln>
                  <a:noFill/>
                </a:ln>
                <a:solidFill>
                  <a:srgbClr val="12ABDB"/>
                </a:solidFill>
                <a:effectLst/>
                <a:uLnTx/>
                <a:uFillTx/>
                <a:latin typeface="Ubuntu" panose="020B0504030602030204" pitchFamily="34" charset="0"/>
                <a:ea typeface="+mj-ea"/>
                <a:cs typeface="+mj-cs"/>
              </a:rPr>
              <a:t>Now</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000" b="1" i="0" u="none" strike="noStrike" kern="1200" cap="all" spc="0" normalizeH="0" baseline="0" noProof="0" dirty="0">
                <a:ln>
                  <a:noFill/>
                </a:ln>
                <a:effectLst/>
                <a:uLnTx/>
                <a:uFillTx/>
                <a:latin typeface="Ubuntu" panose="020B0504030602030204" pitchFamily="34" charset="0"/>
                <a:ea typeface="+mj-ea"/>
                <a:cs typeface="+mj-cs"/>
              </a:rPr>
              <a:t>(</a:t>
            </a:r>
            <a:r>
              <a:rPr kumimoji="0" lang="en-IN" sz="2000" b="1" i="0" u="none" strike="noStrike" kern="1200" cap="all" spc="0" normalizeH="0" baseline="0" noProof="0" dirty="0">
                <a:ln>
                  <a:noFill/>
                </a:ln>
                <a:solidFill>
                  <a:srgbClr val="12ABDB"/>
                </a:solidFill>
                <a:effectLst/>
                <a:uLnTx/>
                <a:uFillTx/>
                <a:latin typeface="Ubuntu" panose="020B0504030602030204" pitchFamily="34" charset="0"/>
                <a:ea typeface="+mj-ea"/>
                <a:cs typeface="+mj-cs"/>
              </a:rPr>
              <a:t>Capgemini VPN </a:t>
            </a:r>
            <a:r>
              <a:rPr kumimoji="0" lang="en-IN" sz="2000" b="1" i="0" u="none" strike="noStrike" kern="1200" cap="all" spc="0" normalizeH="0" baseline="0" noProof="0" dirty="0">
                <a:ln>
                  <a:noFill/>
                </a:ln>
                <a:effectLst/>
                <a:uLnTx/>
                <a:uFillTx/>
                <a:latin typeface="Ubuntu" panose="020B0504030602030204" pitchFamily="34" charset="0"/>
                <a:ea typeface="+mj-ea"/>
                <a:cs typeface="+mj-cs"/>
              </a:rPr>
              <a:t>Access Required)</a:t>
            </a:r>
            <a:endParaRPr kumimoji="0" lang="en-IN" sz="4000" b="1" i="0" u="none" strike="noStrike" kern="1200" cap="all" spc="0" normalizeH="0" baseline="0" noProof="0" dirty="0">
              <a:ln>
                <a:noFill/>
              </a:ln>
              <a:effectLst/>
              <a:uLnTx/>
              <a:uFillTx/>
              <a:latin typeface="Ubuntu" panose="020B0504030602030204" pitchFamily="34" charset="0"/>
              <a:ea typeface="+mj-ea"/>
              <a:cs typeface="+mj-cs"/>
            </a:endParaRPr>
          </a:p>
        </p:txBody>
      </p:sp>
      <p:sp>
        <p:nvSpPr>
          <p:cNvPr id="8" name="TextBox 7">
            <a:extLst>
              <a:ext uri="{FF2B5EF4-FFF2-40B4-BE49-F238E27FC236}">
                <a16:creationId xmlns:a16="http://schemas.microsoft.com/office/drawing/2014/main" id="{210AC2B8-0B41-4E1F-8A9A-CF712CA5BE18}"/>
              </a:ext>
            </a:extLst>
          </p:cNvPr>
          <p:cNvSpPr txBox="1"/>
          <p:nvPr/>
        </p:nvSpPr>
        <p:spPr>
          <a:xfrm>
            <a:off x="563887" y="5420959"/>
            <a:ext cx="6946820" cy="954107"/>
          </a:xfrm>
          <a:prstGeom prst="rect">
            <a:avLst/>
          </a:prstGeom>
          <a:noFill/>
        </p:spPr>
        <p:txBody>
          <a:bodyPr wrap="square">
            <a:spAutoFit/>
          </a:bodyPr>
          <a:lstStyle/>
          <a:p>
            <a:r>
              <a:rPr lang="en-IN" sz="2000" b="1" dirty="0">
                <a:solidFill>
                  <a:srgbClr val="12ABDB"/>
                </a:solidFill>
              </a:rPr>
              <a:t>OR VISIT</a:t>
            </a:r>
          </a:p>
          <a:p>
            <a:r>
              <a:rPr lang="en-IN" dirty="0">
                <a:solidFill>
                  <a:schemeClr val="bg1"/>
                </a:solidFill>
              </a:rPr>
              <a:t>tmt-connect.capgemini.com/form/falcon-</a:t>
            </a:r>
            <a:r>
              <a:rPr lang="en-IN" dirty="0" err="1">
                <a:solidFill>
                  <a:schemeClr val="bg1"/>
                </a:solidFill>
              </a:rPr>
              <a:t>tmt</a:t>
            </a:r>
            <a:r>
              <a:rPr lang="en-IN" dirty="0">
                <a:solidFill>
                  <a:schemeClr val="bg1"/>
                </a:solidFill>
              </a:rPr>
              <a:t>-innovation-form</a:t>
            </a:r>
          </a:p>
          <a:p>
            <a:endParaRPr lang="en-IN" b="1" dirty="0">
              <a:solidFill>
                <a:schemeClr val="accent1">
                  <a:lumMod val="60000"/>
                  <a:lumOff val="40000"/>
                </a:schemeClr>
              </a:solidFill>
            </a:endParaRPr>
          </a:p>
        </p:txBody>
      </p:sp>
    </p:spTree>
    <p:extLst>
      <p:ext uri="{BB962C8B-B14F-4D97-AF65-F5344CB8AC3E}">
        <p14:creationId xmlns:p14="http://schemas.microsoft.com/office/powerpoint/2010/main" val="1122989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8.xml><?xml version="1.0" encoding="utf-8"?>
<p:tagLst xmlns:a="http://schemas.openxmlformats.org/drawingml/2006/main" xmlns:r="http://schemas.openxmlformats.org/officeDocument/2006/relationships" xmlns:p="http://schemas.openxmlformats.org/presentationml/2006/main">
  <p:tag name="EE4P_STYLE_ID" val="25d52fde-eb10-4e70-8aa2-c1e9f5b29423"/>
  <p:tag name="EE4P_STYLE_NAME" val="Capgemini invent"/>
  <p:tag name="EE4P_SMART_ELEMENT_XML" val="&lt;smartelement id=&quot;ProcessArrow&quot; custom=&quot;1&quot;&gt;&lt;value angle=&quot;4&quot; /&gt;&lt;/smartelement&gt;"/>
</p:tagLst>
</file>

<file path=ppt/tags/tag39.xml><?xml version="1.0" encoding="utf-8"?>
<p:tagLst xmlns:a="http://schemas.openxmlformats.org/drawingml/2006/main" xmlns:r="http://schemas.openxmlformats.org/officeDocument/2006/relationships" xmlns:p="http://schemas.openxmlformats.org/presentationml/2006/main">
  <p:tag name="BULLETS"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ULLETS" val="true"/>
</p:tagLst>
</file>

<file path=ppt/tags/tag41.xml><?xml version="1.0" encoding="utf-8"?>
<p:tagLst xmlns:a="http://schemas.openxmlformats.org/drawingml/2006/main" xmlns:r="http://schemas.openxmlformats.org/officeDocument/2006/relationships" xmlns:p="http://schemas.openxmlformats.org/presentationml/2006/main">
  <p:tag name="BULLETS" val="true"/>
</p:tagLst>
</file>

<file path=ppt/tags/tag42.xml><?xml version="1.0" encoding="utf-8"?>
<p:tagLst xmlns:a="http://schemas.openxmlformats.org/drawingml/2006/main" xmlns:r="http://schemas.openxmlformats.org/officeDocument/2006/relationships" xmlns:p="http://schemas.openxmlformats.org/presentationml/2006/main">
  <p:tag name="EE4P_STYLE_ID" val="25d52fde-eb10-4e70-8aa2-c1e9f5b29423"/>
  <p:tag name="EE4P_STYLE_NAME" val="Capgemini invent"/>
  <p:tag name="EE4P_SMART_ELEMENT_XML" val="&lt;smartelement id=&quot;ProcessArrow&quot; custom=&quot;1&quot;&gt;&lt;value angle=&quot;4&quot; /&gt;&lt;/smartelement&gt;"/>
</p:tagLst>
</file>

<file path=ppt/tags/tag43.xml><?xml version="1.0" encoding="utf-8"?>
<p:tagLst xmlns:a="http://schemas.openxmlformats.org/drawingml/2006/main" xmlns:r="http://schemas.openxmlformats.org/officeDocument/2006/relationships" xmlns:p="http://schemas.openxmlformats.org/presentationml/2006/main">
  <p:tag name="BULLETS" val="true"/>
</p:tagLst>
</file>

<file path=ppt/tags/tag44.xml><?xml version="1.0" encoding="utf-8"?>
<p:tagLst xmlns:a="http://schemas.openxmlformats.org/drawingml/2006/main" xmlns:r="http://schemas.openxmlformats.org/officeDocument/2006/relationships" xmlns:p="http://schemas.openxmlformats.org/presentationml/2006/main">
  <p:tag name="BULLETS" val="true"/>
</p:tagLst>
</file>

<file path=ppt/tags/tag45.xml><?xml version="1.0" encoding="utf-8"?>
<p:tagLst xmlns:a="http://schemas.openxmlformats.org/drawingml/2006/main" xmlns:r="http://schemas.openxmlformats.org/officeDocument/2006/relationships" xmlns:p="http://schemas.openxmlformats.org/presentationml/2006/main">
  <p:tag name="BULLETS" val="tr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3.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3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5.xml><?xml version="1.0" encoding="utf-8"?>
<a:theme xmlns:a="http://schemas.openxmlformats.org/drawingml/2006/main" name="Capgemini BU Germany Mar 2022">
  <a:themeElements>
    <a:clrScheme name="Custom 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70AD"/>
      </a:hlink>
      <a:folHlink>
        <a:srgbClr val="12ABDB"/>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nchorCtr="0">
        <a:spAutoFit/>
      </a:bodyPr>
      <a:lstStyle>
        <a:defPPr algn="l">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hire A">
      <a:srgbClr val="338091"/>
    </a:custClr>
    <a:custClr name="Saphire B">
      <a:srgbClr val="336B7D"/>
    </a:custClr>
    <a:custClr name="Saphire C">
      <a:srgbClr val="14596B"/>
    </a:custClr>
    <a:custClr name="Saphire D">
      <a:srgbClr val="214554"/>
    </a:custClr>
    <a:custClr name="Sa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 Standard Template" id="{FF0E4592-6764-451B-A336-8AE040D84052}" vid="{5F9429FE-8A6C-4F1D-9F19-21E97744114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391</TotalTime>
  <Words>532</Words>
  <Application>Microsoft Office PowerPoint</Application>
  <PresentationFormat>Widescreen</PresentationFormat>
  <Paragraphs>97</Paragraphs>
  <Slides>6</Slides>
  <Notes>0</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18" baseType="lpstr">
      <vt:lpstr>Arial</vt:lpstr>
      <vt:lpstr>Calibri</vt:lpstr>
      <vt:lpstr>Ubuntu</vt:lpstr>
      <vt:lpstr>Ubuntu Light</vt:lpstr>
      <vt:lpstr>Ubuntu Medium</vt:lpstr>
      <vt:lpstr>Wingdings</vt:lpstr>
      <vt:lpstr>1_Capgemini Master 2021</vt:lpstr>
      <vt:lpstr>Capgemini Master 2021</vt:lpstr>
      <vt:lpstr>2_Capgemini Master 2021</vt:lpstr>
      <vt:lpstr>3_Capgemini Master 2021</vt:lpstr>
      <vt:lpstr>Capgemini BU Germany Mar 2022</vt:lpstr>
      <vt:lpstr>think-cell Slide</vt:lpstr>
      <vt:lpstr>PowerPoint Presentation</vt:lpstr>
      <vt:lpstr>tIMELINE</vt:lpstr>
      <vt:lpstr>PowerPoint Presentation</vt:lpstr>
      <vt:lpstr>PowerPoint Presentation</vt:lpstr>
      <vt:lpstr>FLASHBACK - Falcon 2021 Highligh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nha, Ravi</dc:creator>
  <cp:lastModifiedBy>Sinha, Ravi</cp:lastModifiedBy>
  <cp:revision>84</cp:revision>
  <dcterms:created xsi:type="dcterms:W3CDTF">2021-07-15T08:21:28Z</dcterms:created>
  <dcterms:modified xsi:type="dcterms:W3CDTF">2022-07-26T14:28:33Z</dcterms:modified>
</cp:coreProperties>
</file>